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doc" ContentType="application/msword"/>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 id="2147483669" r:id="rId3"/>
  </p:sldMasterIdLst>
  <p:notesMasterIdLst>
    <p:notesMasterId r:id="rId55"/>
  </p:notesMasterIdLst>
  <p:handoutMasterIdLst>
    <p:handoutMasterId r:id="rId56"/>
  </p:handoutMasterIdLst>
  <p:sldIdLst>
    <p:sldId id="256" r:id="rId4"/>
    <p:sldId id="591" r:id="rId5"/>
    <p:sldId id="592" r:id="rId6"/>
    <p:sldId id="515" r:id="rId7"/>
    <p:sldId id="516" r:id="rId8"/>
    <p:sldId id="596" r:id="rId9"/>
    <p:sldId id="597" r:id="rId10"/>
    <p:sldId id="598" r:id="rId11"/>
    <p:sldId id="599" r:id="rId12"/>
    <p:sldId id="482" r:id="rId13"/>
    <p:sldId id="595" r:id="rId14"/>
    <p:sldId id="487" r:id="rId15"/>
    <p:sldId id="495" r:id="rId16"/>
    <p:sldId id="611" r:id="rId17"/>
    <p:sldId id="602" r:id="rId18"/>
    <p:sldId id="603" r:id="rId19"/>
    <p:sldId id="604" r:id="rId20"/>
    <p:sldId id="605" r:id="rId21"/>
    <p:sldId id="606" r:id="rId22"/>
    <p:sldId id="489" r:id="rId23"/>
    <p:sldId id="567" r:id="rId24"/>
    <p:sldId id="490" r:id="rId25"/>
    <p:sldId id="491" r:id="rId26"/>
    <p:sldId id="558" r:id="rId27"/>
    <p:sldId id="492" r:id="rId28"/>
    <p:sldId id="493" r:id="rId29"/>
    <p:sldId id="608" r:id="rId30"/>
    <p:sldId id="607" r:id="rId31"/>
    <p:sldId id="464" r:id="rId32"/>
    <p:sldId id="510" r:id="rId33"/>
    <p:sldId id="589" r:id="rId34"/>
    <p:sldId id="511" r:id="rId35"/>
    <p:sldId id="512" r:id="rId36"/>
    <p:sldId id="513" r:id="rId37"/>
    <p:sldId id="382" r:id="rId38"/>
    <p:sldId id="395" r:id="rId39"/>
    <p:sldId id="582" r:id="rId40"/>
    <p:sldId id="315" r:id="rId41"/>
    <p:sldId id="318" r:id="rId42"/>
    <p:sldId id="357" r:id="rId43"/>
    <p:sldId id="497" r:id="rId44"/>
    <p:sldId id="359" r:id="rId45"/>
    <p:sldId id="569" r:id="rId46"/>
    <p:sldId id="580" r:id="rId47"/>
    <p:sldId id="576" r:id="rId48"/>
    <p:sldId id="609" r:id="rId49"/>
    <p:sldId id="610" r:id="rId50"/>
    <p:sldId id="575" r:id="rId51"/>
    <p:sldId id="578" r:id="rId52"/>
    <p:sldId id="565" r:id="rId53"/>
    <p:sldId id="590" r:id="rId5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774" autoAdjust="0"/>
  </p:normalViewPr>
  <p:slideViewPr>
    <p:cSldViewPr>
      <p:cViewPr varScale="1">
        <p:scale>
          <a:sx n="76" d="100"/>
          <a:sy n="76" d="100"/>
        </p:scale>
        <p:origin x="-1794" y="-102"/>
      </p:cViewPr>
      <p:guideLst>
        <p:guide orient="horz" pos="2160"/>
        <p:guide pos="2880"/>
      </p:guideLst>
    </p:cSldViewPr>
  </p:slideViewPr>
  <p:notesTextViewPr>
    <p:cViewPr>
      <p:scale>
        <a:sx n="1" d="1"/>
        <a:sy n="1" d="1"/>
      </p:scale>
      <p:origin x="0" y="0"/>
    </p:cViewPr>
  </p:notesTextViewPr>
  <p:sorterViewPr>
    <p:cViewPr>
      <p:scale>
        <a:sx n="200" d="100"/>
        <a:sy n="200" d="100"/>
      </p:scale>
      <p:origin x="0" y="704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handoutMaster" Target="handoutMasters/handoutMaster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2830" tIns="46415" rIns="92830" bIns="46415" rtlCol="0"/>
          <a:lstStyle>
            <a:lvl1pPr algn="r">
              <a:defRPr sz="1200"/>
            </a:lvl1pPr>
          </a:lstStyle>
          <a:p>
            <a:fld id="{4AAD5C88-A28D-4822-99CB-64C15630F1CD}" type="datetimeFigureOut">
              <a:rPr lang="en-US" smtClean="0"/>
              <a:t>3/25/2014</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2830" tIns="46415" rIns="92830" bIns="46415"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2830" tIns="46415" rIns="92830" bIns="46415" rtlCol="0" anchor="b"/>
          <a:lstStyle>
            <a:lvl1pPr algn="r">
              <a:defRPr sz="1200"/>
            </a:lvl1pPr>
          </a:lstStyle>
          <a:p>
            <a:fld id="{F7A32826-1C92-46F3-B004-5DCF178E857F}" type="slidenum">
              <a:rPr lang="en-US" smtClean="0"/>
              <a:t>‹#›</a:t>
            </a:fld>
            <a:endParaRPr lang="en-US"/>
          </a:p>
        </p:txBody>
      </p:sp>
    </p:spTree>
    <p:extLst>
      <p:ext uri="{BB962C8B-B14F-4D97-AF65-F5344CB8AC3E}">
        <p14:creationId xmlns:p14="http://schemas.microsoft.com/office/powerpoint/2010/main" val="184408531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2830" tIns="46415" rIns="92830" bIns="46415" rtlCol="0"/>
          <a:lstStyle>
            <a:lvl1pPr algn="r">
              <a:defRPr sz="1200"/>
            </a:lvl1pPr>
          </a:lstStyle>
          <a:p>
            <a:fld id="{AD62360A-A606-48BD-B7D4-388E5D498011}" type="datetimeFigureOut">
              <a:rPr lang="en-US" smtClean="0"/>
              <a:t>3/25/2014</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830" tIns="46415" rIns="92830" bIns="46415"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2830" tIns="46415" rIns="92830" bIns="4641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2830" tIns="46415" rIns="92830" bIns="46415"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2830" tIns="46415" rIns="92830" bIns="46415" rtlCol="0" anchor="b"/>
          <a:lstStyle>
            <a:lvl1pPr algn="r">
              <a:defRPr sz="1200"/>
            </a:lvl1pPr>
          </a:lstStyle>
          <a:p>
            <a:fld id="{0FDF15FA-3BDB-4F1E-AD1C-6F20EB6EB346}" type="slidenum">
              <a:rPr lang="en-US" smtClean="0"/>
              <a:t>‹#›</a:t>
            </a:fld>
            <a:endParaRPr lang="en-US"/>
          </a:p>
        </p:txBody>
      </p:sp>
    </p:spTree>
    <p:extLst>
      <p:ext uri="{BB962C8B-B14F-4D97-AF65-F5344CB8AC3E}">
        <p14:creationId xmlns:p14="http://schemas.microsoft.com/office/powerpoint/2010/main" val="98506320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13740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err="1" smtClean="0">
                <a:solidFill>
                  <a:schemeClr val="tx1"/>
                </a:solidFill>
                <a:latin typeface="+mn-lt"/>
                <a:ea typeface="+mn-ea"/>
                <a:cs typeface="+mn-cs"/>
              </a:rPr>
              <a:t>elivery</a:t>
            </a:r>
            <a:r>
              <a:rPr lang="en-US" sz="1200" b="0" i="0" u="none" strike="noStrike" kern="1200" baseline="0" dirty="0" smtClean="0">
                <a:solidFill>
                  <a:schemeClr val="tx1"/>
                </a:solidFill>
                <a:latin typeface="+mn-lt"/>
                <a:ea typeface="+mn-ea"/>
                <a:cs typeface="+mn-cs"/>
              </a:rPr>
              <a:t> of the second dose (MCV2) may occur either at a scheduled age through routine services or periodically through mass campaigns, depending on which strategy achieves the higher coverage. A MCV2 dose may be added to the routine immunization schedule in countries that have achieved </a:t>
            </a:r>
            <a:r>
              <a:rPr lang="en-US" sz="1200" b="0" i="0" u="sng" strike="noStrike" kern="1200" baseline="0" dirty="0" smtClean="0">
                <a:solidFill>
                  <a:schemeClr val="tx1"/>
                </a:solidFill>
                <a:latin typeface="+mn-lt"/>
                <a:ea typeface="+mn-ea"/>
                <a:cs typeface="+mn-cs"/>
              </a:rPr>
              <a:t>&gt; </a:t>
            </a:r>
            <a:r>
              <a:rPr lang="en-US" sz="1200" b="0" i="0" u="none" strike="noStrike" kern="1200" baseline="0" dirty="0" smtClean="0">
                <a:solidFill>
                  <a:schemeClr val="tx1"/>
                </a:solidFill>
                <a:latin typeface="+mn-lt"/>
                <a:ea typeface="+mn-ea"/>
                <a:cs typeface="+mn-cs"/>
              </a:rPr>
              <a:t>80% coverage of measles first dose (MCV1) at the national level for 3 consecutive years as determined by the most accurate means available (e.g. survey or WHO/UNICEF estimates). In general, countries that do not meet this criterion should prioritize improving MCV1 coverage and conducting high-quality follow-up SIAs, rather than adding MCV2 to their routine schedule. </a:t>
            </a:r>
          </a:p>
          <a:p>
            <a:r>
              <a:rPr lang="en-US" sz="1200" b="0" i="0" u="none" strike="noStrike" kern="1200" baseline="0" dirty="0" smtClean="0">
                <a:solidFill>
                  <a:schemeClr val="tx1"/>
                </a:solidFill>
                <a:latin typeface="+mn-lt"/>
                <a:ea typeface="+mn-ea"/>
                <a:cs typeface="+mn-cs"/>
              </a:rPr>
              <a:t>• In countries with ongoing transmission in which the risk of measles mortality remains high, MCV1 should be given at age 9 months. MCV2 should be given between 12-18 months, as providing MCV2 in the 2</a:t>
            </a:r>
            <a:r>
              <a:rPr lang="en-US" sz="1200" b="0" i="0" u="none" strike="noStrike" kern="1200" baseline="30000" dirty="0" smtClean="0">
                <a:solidFill>
                  <a:schemeClr val="tx1"/>
                </a:solidFill>
                <a:latin typeface="+mn-lt"/>
                <a:ea typeface="+mn-ea"/>
                <a:cs typeface="+mn-cs"/>
              </a:rPr>
              <a:t>nd </a:t>
            </a:r>
            <a:r>
              <a:rPr lang="en-US" sz="1200" b="0" i="0" u="none" strike="noStrike" kern="1200" baseline="0" dirty="0" smtClean="0">
                <a:solidFill>
                  <a:schemeClr val="tx1"/>
                </a:solidFill>
                <a:latin typeface="+mn-lt"/>
                <a:ea typeface="+mn-ea"/>
                <a:cs typeface="+mn-cs"/>
              </a:rPr>
              <a:t>year of life reduces the rate of accumulation of susceptible children and the risk of an outbreak. </a:t>
            </a:r>
          </a:p>
          <a:p>
            <a:r>
              <a:rPr lang="en-US" sz="1200" b="0" i="0" u="none" strike="noStrike" kern="1200" baseline="0" dirty="0" smtClean="0">
                <a:solidFill>
                  <a:schemeClr val="tx1"/>
                </a:solidFill>
                <a:latin typeface="+mn-lt"/>
                <a:ea typeface="+mn-ea"/>
                <a:cs typeface="+mn-cs"/>
              </a:rPr>
              <a:t>• In countries with low rates of measles transmission (that is, those that are near elimination) and where there is a low risk of measles infection among infants, the first dose may be administered at age 12 months to take advantage of the higher </a:t>
            </a:r>
            <a:r>
              <a:rPr lang="en-US" sz="1200" b="0" i="0" u="none" strike="noStrike" kern="1200" baseline="0" dirty="0" err="1" smtClean="0">
                <a:solidFill>
                  <a:schemeClr val="tx1"/>
                </a:solidFill>
                <a:latin typeface="+mn-lt"/>
                <a:ea typeface="+mn-ea"/>
                <a:cs typeface="+mn-cs"/>
              </a:rPr>
              <a:t>seroconversion</a:t>
            </a:r>
            <a:r>
              <a:rPr lang="en-US" sz="1200" b="0" i="0" u="none" strike="noStrike" kern="1200" baseline="0" dirty="0" smtClean="0">
                <a:solidFill>
                  <a:schemeClr val="tx1"/>
                </a:solidFill>
                <a:latin typeface="+mn-lt"/>
                <a:ea typeface="+mn-ea"/>
                <a:cs typeface="+mn-cs"/>
              </a:rPr>
              <a:t> rates achieved at this age (&gt;90% </a:t>
            </a:r>
            <a:r>
              <a:rPr lang="en-US" sz="1200" b="0" i="0" u="none" strike="noStrike" kern="1200" baseline="0" dirty="0" err="1" smtClean="0">
                <a:solidFill>
                  <a:schemeClr val="tx1"/>
                </a:solidFill>
                <a:latin typeface="+mn-lt"/>
                <a:ea typeface="+mn-ea"/>
                <a:cs typeface="+mn-cs"/>
              </a:rPr>
              <a:t>seroconversion</a:t>
            </a:r>
            <a:r>
              <a:rPr lang="en-US" sz="1200" b="0" i="0" u="none" strike="noStrike" kern="1200" baseline="0" dirty="0" smtClean="0">
                <a:solidFill>
                  <a:schemeClr val="tx1"/>
                </a:solidFill>
                <a:latin typeface="+mn-lt"/>
                <a:ea typeface="+mn-ea"/>
                <a:cs typeface="+mn-cs"/>
              </a:rPr>
              <a:t>). In these countries the optimal age for delivering a routine 2</a:t>
            </a:r>
            <a:r>
              <a:rPr lang="en-US" sz="1200" b="0" i="0" u="none" strike="noStrike" kern="1200" baseline="30000" dirty="0" smtClean="0">
                <a:solidFill>
                  <a:schemeClr val="tx1"/>
                </a:solidFill>
                <a:latin typeface="+mn-lt"/>
                <a:ea typeface="+mn-ea"/>
                <a:cs typeface="+mn-cs"/>
              </a:rPr>
              <a:t>nd </a:t>
            </a:r>
            <a:r>
              <a:rPr lang="en-US" sz="1200" b="0" i="0" u="none" strike="noStrike" kern="1200" baseline="0" dirty="0" smtClean="0">
                <a:solidFill>
                  <a:schemeClr val="tx1"/>
                </a:solidFill>
                <a:latin typeface="+mn-lt"/>
                <a:ea typeface="+mn-ea"/>
                <a:cs typeface="+mn-cs"/>
              </a:rPr>
              <a:t>dose of measles is based on programmatic considerations that achieve the highest coverage and hence the highest population immunity. Administration of the second dose at age 15-18 months ensures early protection of the individual, slows accumulation of susceptible young children and may correspond with other routine immunizations (for example, DTP booster). If first dose coverage is high (&gt;90%) and school enrolment is high (&gt;95%), giving the second dose at school </a:t>
            </a:r>
          </a:p>
          <a:p>
            <a:r>
              <a:rPr lang="en-US" sz="1200" b="0" i="0" u="none" strike="noStrike" kern="1200" baseline="0" dirty="0" smtClean="0">
                <a:solidFill>
                  <a:schemeClr val="tx1"/>
                </a:solidFill>
                <a:latin typeface="+mn-lt"/>
                <a:ea typeface="+mn-ea"/>
                <a:cs typeface="+mn-cs"/>
              </a:rPr>
              <a:t> </a:t>
            </a:r>
            <a:endParaRPr lang="en-US" dirty="0"/>
          </a:p>
        </p:txBody>
      </p:sp>
    </p:spTree>
    <p:extLst>
      <p:ext uri="{BB962C8B-B14F-4D97-AF65-F5344CB8AC3E}">
        <p14:creationId xmlns:p14="http://schemas.microsoft.com/office/powerpoint/2010/main" val="260767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xfrm>
            <a:off x="1181100" y="696913"/>
            <a:ext cx="4648200" cy="3486150"/>
          </a:xfrm>
          <a:ln/>
        </p:spPr>
      </p:sp>
      <p:sp>
        <p:nvSpPr>
          <p:cNvPr id="368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9318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smtClean="0"/>
              <a:t>Outreach is an expensive intervention. Takes time to plan, to implement and takes resources. Where there are vehicles, they complain of too few people, where have a motorcycle, complain need a vehicle, where have a bike, complain that need a motorcycle. And some are on foot.</a:t>
            </a:r>
          </a:p>
          <a:p>
            <a:pPr>
              <a:spcBef>
                <a:spcPct val="0"/>
              </a:spcBef>
            </a:pPr>
            <a:r>
              <a:rPr lang="en-US" smtClean="0"/>
              <a:t>Respecting this program is now considered on of the key barriers to increasing coverage. Many don’t set a schedule, or set a date but do not show up. Mothers get discouraged and do not take the day off the next time.</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Example: In one SE Asia</a:t>
            </a:r>
            <a:r>
              <a:rPr lang="en-US" sz="1200" baseline="0" dirty="0" smtClean="0"/>
              <a:t> country, the n</a:t>
            </a:r>
            <a:r>
              <a:rPr lang="en-US" sz="1200" dirty="0" smtClean="0"/>
              <a:t>umber of sessions was usually determined by # of villages (61.2%), # of nurses (42.2%), and number of beneficiaries (28.7%)</a:t>
            </a:r>
          </a:p>
        </p:txBody>
      </p:sp>
    </p:spTree>
    <p:extLst>
      <p:ext uri="{BB962C8B-B14F-4D97-AF65-F5344CB8AC3E}">
        <p14:creationId xmlns:p14="http://schemas.microsoft.com/office/powerpoint/2010/main" val="3034151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pen vial and acceptable wastage have many overlapping examples _</a:t>
            </a:r>
            <a:r>
              <a:rPr lang="en-US" baseline="0" dirty="0" smtClean="0"/>
              <a:t> strong emphasis. </a:t>
            </a:r>
            <a:r>
              <a:rPr lang="en-US" dirty="0" smtClean="0"/>
              <a:t>when planning stock you need to account for the actual wastage levels.</a:t>
            </a:r>
          </a:p>
          <a:p>
            <a:endParaRPr lang="en-US" dirty="0" smtClean="0"/>
          </a:p>
        </p:txBody>
      </p:sp>
      <p:sp>
        <p:nvSpPr>
          <p:cNvPr id="4" name="Slide Number Placeholder 3"/>
          <p:cNvSpPr>
            <a:spLocks noGrp="1"/>
          </p:cNvSpPr>
          <p:nvPr>
            <p:ph type="sldNum" sz="quarter" idx="10"/>
          </p:nvPr>
        </p:nvSpPr>
        <p:spPr/>
        <p:txBody>
          <a:bodyPr/>
          <a:lstStyle/>
          <a:p>
            <a:fld id="{FDD1F97D-0FF9-4E5F-A392-6F39FC49D542}" type="slidenum">
              <a:rPr lang="en-US" smtClean="0"/>
              <a:pPr/>
              <a:t>31</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D1D076C-BA2E-488F-9AA3-11D667C077DE}" type="slidenum">
              <a:rPr lang="en-US"/>
              <a:pPr/>
              <a:t>41</a:t>
            </a:fld>
            <a:endParaRPr lang="en-US"/>
          </a:p>
        </p:txBody>
      </p:sp>
      <p:sp>
        <p:nvSpPr>
          <p:cNvPr id="114690" name="Rectangle 2"/>
          <p:cNvSpPr>
            <a:spLocks noGrp="1" noRot="1" noChangeAspect="1" noChangeArrowheads="1" noTextEdit="1"/>
          </p:cNvSpPr>
          <p:nvPr>
            <p:ph type="sldImg"/>
          </p:nvPr>
        </p:nvSpPr>
        <p:spPr>
          <a:ln/>
        </p:spPr>
      </p:sp>
      <p:sp>
        <p:nvSpPr>
          <p:cNvPr id="11469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64708FE-8F59-4F1D-802E-7D1A9DC5FB1A}" type="slidenum">
              <a:rPr lang="en-US"/>
              <a:pPr/>
              <a:t>48</a:t>
            </a:fld>
            <a:endParaRPr lang="en-US"/>
          </a:p>
        </p:txBody>
      </p:sp>
      <p:sp>
        <p:nvSpPr>
          <p:cNvPr id="171010" name="Rectangle 2"/>
          <p:cNvSpPr>
            <a:spLocks noGrp="1" noRot="1" noChangeAspect="1" noChangeArrowheads="1" noTextEdit="1"/>
          </p:cNvSpPr>
          <p:nvPr>
            <p:ph type="sldImg"/>
          </p:nvPr>
        </p:nvSpPr>
        <p:spPr>
          <a:ln/>
        </p:spPr>
      </p:sp>
      <p:sp>
        <p:nvSpPr>
          <p:cNvPr id="171011" name="Rectangle 3"/>
          <p:cNvSpPr>
            <a:spLocks noGrp="1" noChangeArrowheads="1"/>
          </p:cNvSpPr>
          <p:nvPr>
            <p:ph type="body" idx="1"/>
          </p:nvPr>
        </p:nvSpPr>
        <p:spPr/>
        <p:txBody>
          <a:bodyPr/>
          <a:lstStyle/>
          <a:p>
            <a:r>
              <a:rPr lang="en-US"/>
              <a:t>Here is an example of how managers might choose to emphasize certain components of the RED strategy to address certain barriers. Some of these are indicators that may reflect problems with one or more barriers at different levels in the EPI program. For example, outreach and data…</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jpe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1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0D83938-53B6-4F7F-8229-5D079F9FC1B3}" type="datetimeFigureOut">
              <a:rPr lang="en-US" smtClean="0"/>
              <a:t>3/25/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FF30B2-9379-4AB3-AECD-377BBA9AACA2}" type="slidenum">
              <a:rPr lang="en-US" smtClean="0"/>
              <a:t>‹#›</a:t>
            </a:fld>
            <a:endParaRPr lang="en-US"/>
          </a:p>
        </p:txBody>
      </p:sp>
    </p:spTree>
    <p:extLst>
      <p:ext uri="{BB962C8B-B14F-4D97-AF65-F5344CB8AC3E}">
        <p14:creationId xmlns:p14="http://schemas.microsoft.com/office/powerpoint/2010/main" val="15116704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0D83938-53B6-4F7F-8229-5D079F9FC1B3}" type="datetimeFigureOut">
              <a:rPr lang="en-US" smtClean="0"/>
              <a:t>3/25/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FF30B2-9379-4AB3-AECD-377BBA9AACA2}" type="slidenum">
              <a:rPr lang="en-US" smtClean="0"/>
              <a:t>‹#›</a:t>
            </a:fld>
            <a:endParaRPr lang="en-US"/>
          </a:p>
        </p:txBody>
      </p:sp>
    </p:spTree>
    <p:extLst>
      <p:ext uri="{BB962C8B-B14F-4D97-AF65-F5344CB8AC3E}">
        <p14:creationId xmlns:p14="http://schemas.microsoft.com/office/powerpoint/2010/main" val="2565451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0D83938-53B6-4F7F-8229-5D079F9FC1B3}" type="datetimeFigureOut">
              <a:rPr lang="en-US" smtClean="0"/>
              <a:t>3/25/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FF30B2-9379-4AB3-AECD-377BBA9AACA2}" type="slidenum">
              <a:rPr lang="en-US" smtClean="0"/>
              <a:t>‹#›</a:t>
            </a:fld>
            <a:endParaRPr lang="en-US"/>
          </a:p>
        </p:txBody>
      </p:sp>
    </p:spTree>
    <p:extLst>
      <p:ext uri="{BB962C8B-B14F-4D97-AF65-F5344CB8AC3E}">
        <p14:creationId xmlns:p14="http://schemas.microsoft.com/office/powerpoint/2010/main" val="41894745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398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30725"/>
          </a:xfrm>
        </p:spPr>
        <p:txBody>
          <a:bodyPr/>
          <a:lstStyle/>
          <a:p>
            <a:endParaRPr lang="en-US"/>
          </a:p>
        </p:txBody>
      </p:sp>
      <p:sp>
        <p:nvSpPr>
          <p:cNvPr id="4" name="Date Placeholder 3"/>
          <p:cNvSpPr>
            <a:spLocks noGrp="1"/>
          </p:cNvSpPr>
          <p:nvPr>
            <p:ph type="dt" sz="half" idx="10"/>
          </p:nvPr>
        </p:nvSpPr>
        <p:spPr>
          <a:xfrm>
            <a:off x="457200" y="6243638"/>
            <a:ext cx="2133600" cy="457200"/>
          </a:xfrm>
        </p:spPr>
        <p:txBody>
          <a:bodyPr/>
          <a:lstStyle>
            <a:lvl1pPr>
              <a:defRPr/>
            </a:lvl1pPr>
          </a:lstStyle>
          <a:p>
            <a:endParaRPr lang="en-US" altLang="en-US"/>
          </a:p>
        </p:txBody>
      </p:sp>
      <p:sp>
        <p:nvSpPr>
          <p:cNvPr id="5" name="Footer Placeholder 4"/>
          <p:cNvSpPr>
            <a:spLocks noGrp="1"/>
          </p:cNvSpPr>
          <p:nvPr>
            <p:ph type="ftr" sz="quarter" idx="11"/>
          </p:nvPr>
        </p:nvSpPr>
        <p:spPr>
          <a:xfrm>
            <a:off x="3124200" y="6248400"/>
            <a:ext cx="2895600" cy="457200"/>
          </a:xfrm>
        </p:spPr>
        <p:txBody>
          <a:bodyPr/>
          <a:lstStyle>
            <a:lvl1pPr>
              <a:defRPr/>
            </a:lvl1pPr>
          </a:lstStyle>
          <a:p>
            <a:endParaRPr lang="en-US" altLang="en-US"/>
          </a:p>
        </p:txBody>
      </p:sp>
      <p:sp>
        <p:nvSpPr>
          <p:cNvPr id="6" name="Slide Number Placeholder 5"/>
          <p:cNvSpPr>
            <a:spLocks noGrp="1"/>
          </p:cNvSpPr>
          <p:nvPr>
            <p:ph type="sldNum" sz="quarter" idx="12"/>
          </p:nvPr>
        </p:nvSpPr>
        <p:spPr>
          <a:xfrm>
            <a:off x="6553200" y="6243638"/>
            <a:ext cx="2133600" cy="457200"/>
          </a:xfrm>
        </p:spPr>
        <p:txBody>
          <a:bodyPr/>
          <a:lstStyle>
            <a:lvl1pPr>
              <a:defRPr/>
            </a:lvl1pPr>
          </a:lstStyle>
          <a:p>
            <a:fld id="{56D607D0-7680-43B4-827C-FB281B35D7A9}" type="slidenum">
              <a:rPr lang="en-US" altLang="en-US"/>
              <a:pPr/>
              <a:t>‹#›</a:t>
            </a:fld>
            <a:endParaRPr lang="en-US" altLang="en-US"/>
          </a:p>
        </p:txBody>
      </p:sp>
    </p:spTree>
    <p:extLst>
      <p:ext uri="{BB962C8B-B14F-4D97-AF65-F5344CB8AC3E}">
        <p14:creationId xmlns:p14="http://schemas.microsoft.com/office/powerpoint/2010/main" val="3759139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50939" y="617538"/>
            <a:ext cx="7793037" cy="11430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182688" y="2017713"/>
            <a:ext cx="7772400" cy="4114800"/>
          </a:xfrm>
        </p:spPr>
        <p:txBody>
          <a:bodyPr rtlCol="0">
            <a:normAutofit/>
          </a:bodyPr>
          <a:lstStyle/>
          <a:p>
            <a:pPr lvl="0"/>
            <a:endParaRPr lang="en-US" noProof="0" dirty="0" smtClean="0"/>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D2F13FA-087A-47CF-A962-3CF5D2D6DE3F}" type="slidenum">
              <a:rPr lang="en-US"/>
              <a:pPr>
                <a:defRPr/>
              </a:pPr>
              <a:t>‹#›</a:t>
            </a:fld>
            <a:endParaRPr lang="en-US" dirty="0"/>
          </a:p>
        </p:txBody>
      </p:sp>
    </p:spTree>
    <p:extLst>
      <p:ext uri="{BB962C8B-B14F-4D97-AF65-F5344CB8AC3E}">
        <p14:creationId xmlns:p14="http://schemas.microsoft.com/office/powerpoint/2010/main" val="18466843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689" name="think-cell Slide" r:id="rId6" imgW="0" imgH="0" progId="TCLayout.ActiveDocument.1">
                  <p:embed/>
                </p:oleObj>
              </mc:Choice>
              <mc:Fallback>
                <p:oleObj name="think-cell Slide" r:id="rId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17"/>
          <p:cNvSpPr>
            <a:spLocks noChangeArrowheads="1"/>
          </p:cNvSpPr>
          <p:nvPr userDrawn="1">
            <p:custDataLst>
              <p:tags r:id="rId3"/>
            </p:custDataLst>
          </p:nvPr>
        </p:nvSpPr>
        <p:spPr bwMode="auto">
          <a:xfrm>
            <a:off x="0" y="0"/>
            <a:ext cx="9144000" cy="4464050"/>
          </a:xfrm>
          <a:prstGeom prst="rect">
            <a:avLst/>
          </a:prstGeom>
          <a:solidFill>
            <a:srgbClr val="97C4D5"/>
          </a:solidFill>
          <a:ln w="9525">
            <a:noFill/>
            <a:miter lim="800000"/>
            <a:headEnd/>
            <a:tailEnd/>
          </a:ln>
          <a:effectLst/>
        </p:spPr>
        <p:txBody>
          <a:bodyPr wrap="none" anchor="ctr"/>
          <a:lstStyle/>
          <a:p>
            <a:pPr algn="ctr" fontAlgn="base">
              <a:spcBef>
                <a:spcPct val="50000"/>
              </a:spcBef>
              <a:spcAft>
                <a:spcPct val="0"/>
              </a:spcAft>
            </a:pPr>
            <a:endParaRPr lang="en-US" sz="1400">
              <a:solidFill>
                <a:srgbClr val="59452A"/>
              </a:solidFill>
              <a:cs typeface="Arial" charset="0"/>
              <a:sym typeface="Arial"/>
            </a:endParaRPr>
          </a:p>
        </p:txBody>
      </p:sp>
      <p:pic>
        <p:nvPicPr>
          <p:cNvPr id="9" name="Picture 6" descr="BMGF_BoxLogo_red_WEBSAFE2.42.jpg"/>
          <p:cNvPicPr>
            <a:picLocks noChangeAspect="1"/>
          </p:cNvPicPr>
          <p:nvPr userDrawn="1">
            <p:custDataLst>
              <p:tags r:id="rId4"/>
            </p:custDataLst>
          </p:nvPr>
        </p:nvPicPr>
        <p:blipFill>
          <a:blip r:embed="rId7" cstate="print"/>
          <a:srcRect/>
          <a:stretch>
            <a:fillRect/>
          </a:stretch>
        </p:blipFill>
        <p:spPr bwMode="auto">
          <a:xfrm>
            <a:off x="6300788" y="4024313"/>
            <a:ext cx="2212975" cy="2212975"/>
          </a:xfrm>
          <a:prstGeom prst="rect">
            <a:avLst/>
          </a:prstGeom>
          <a:noFill/>
          <a:ln w="9525">
            <a:noFill/>
            <a:miter lim="800000"/>
            <a:headEnd/>
            <a:tailEnd/>
          </a:ln>
        </p:spPr>
      </p:pic>
    </p:spTree>
    <p:extLst>
      <p:ext uri="{BB962C8B-B14F-4D97-AF65-F5344CB8AC3E}">
        <p14:creationId xmlns:p14="http://schemas.microsoft.com/office/powerpoint/2010/main" val="39867557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13"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1"/>
            <p:custDataLst>
              <p:tags r:id="rId4"/>
            </p:custDataLst>
          </p:nvPr>
        </p:nvSpPr>
        <p:spPr>
          <a:xfrm>
            <a:off x="701674" y="1509715"/>
            <a:ext cx="8007352" cy="4624387"/>
          </a:xfrm>
        </p:spPr>
        <p:txBody>
          <a:bodyPr/>
          <a:lstStyle>
            <a:lvl1pPr>
              <a:defRPr/>
            </a:lvl1pPr>
            <a:lvl2pPr>
              <a:defRPr/>
            </a:lvl2pPr>
            <a:lvl3pPr>
              <a:defRPr/>
            </a:lvl3pPr>
            <a:lvl4pPr>
              <a:defRPr/>
            </a:lvl4pPr>
            <a:lvl5pPr>
              <a:defRPr>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52869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3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4148375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6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036870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35356" y="1508760"/>
            <a:ext cx="8271775" cy="46177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3200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73157667-D1CA-47A2-B51D-98F530FDDD0E}"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57432150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0D83938-53B6-4F7F-8229-5D079F9FC1B3}" type="datetimeFigureOut">
              <a:rPr lang="en-US" smtClean="0"/>
              <a:t>3/25/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FF30B2-9379-4AB3-AECD-377BBA9AACA2}" type="slidenum">
              <a:rPr lang="en-US" smtClean="0"/>
              <a:t>‹#›</a:t>
            </a:fld>
            <a:endParaRPr lang="en-US"/>
          </a:p>
        </p:txBody>
      </p:sp>
    </p:spTree>
    <p:extLst>
      <p:ext uri="{BB962C8B-B14F-4D97-AF65-F5344CB8AC3E}">
        <p14:creationId xmlns:p14="http://schemas.microsoft.com/office/powerpoint/2010/main" val="29867365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19B6E37D-285B-43FF-AACB-99768912FC2A}"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98588318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1E422FEF-AFC4-4571-9BAC-A57EBF7C214F}"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01392785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AEFE7B3F-A994-4CBB-B5F4-D84DE9A9A432}"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9258792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a:defRPr/>
            </a:pPr>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a:defRPr/>
            </a:pPr>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a:defRPr/>
            </a:pPr>
            <a:fld id="{A664C42F-B090-4D4D-8397-73531C672FFF}"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97716332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a:defRPr/>
            </a:pPr>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7F74F790-C9A2-4F0F-9044-2E4429666C6E}"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572081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a:defRPr/>
            </a:pPr>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a:defRPr/>
            </a:pPr>
            <a:fld id="{0D73988E-9662-48C0-876A-92C06A030CEC}"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47895476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C6548E3C-4CA6-44B9-9021-6CAC24AE334F}"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73799889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F448D084-C6F7-4FDE-9466-1738013E2360}"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64398616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BECA5750-02A3-4D89-9714-E68FB51EFF9F}"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545899475"/>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C286E31-8BAE-4668-890D-A2CE6D9D6536}" type="slidenum">
              <a:rPr lang="en-US" smtClean="0">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87277816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0D83938-53B6-4F7F-8229-5D079F9FC1B3}" type="datetimeFigureOut">
              <a:rPr lang="en-US" smtClean="0"/>
              <a:t>3/25/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FF30B2-9379-4AB3-AECD-377BBA9AACA2}" type="slidenum">
              <a:rPr lang="en-US" smtClean="0"/>
              <a:t>‹#›</a:t>
            </a:fld>
            <a:endParaRPr lang="en-US"/>
          </a:p>
        </p:txBody>
      </p:sp>
    </p:spTree>
    <p:extLst>
      <p:ext uri="{BB962C8B-B14F-4D97-AF65-F5344CB8AC3E}">
        <p14:creationId xmlns:p14="http://schemas.microsoft.com/office/powerpoint/2010/main" val="19650085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0D83938-53B6-4F7F-8229-5D079F9FC1B3}" type="datetimeFigureOut">
              <a:rPr lang="en-US" smtClean="0"/>
              <a:t>3/25/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FF30B2-9379-4AB3-AECD-377BBA9AACA2}" type="slidenum">
              <a:rPr lang="en-US" smtClean="0"/>
              <a:t>‹#›</a:t>
            </a:fld>
            <a:endParaRPr lang="en-US"/>
          </a:p>
        </p:txBody>
      </p:sp>
    </p:spTree>
    <p:extLst>
      <p:ext uri="{BB962C8B-B14F-4D97-AF65-F5344CB8AC3E}">
        <p14:creationId xmlns:p14="http://schemas.microsoft.com/office/powerpoint/2010/main" val="36163402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0D83938-53B6-4F7F-8229-5D079F9FC1B3}" type="datetimeFigureOut">
              <a:rPr lang="en-US" smtClean="0"/>
              <a:t>3/25/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9FF30B2-9379-4AB3-AECD-377BBA9AACA2}" type="slidenum">
              <a:rPr lang="en-US" smtClean="0"/>
              <a:t>‹#›</a:t>
            </a:fld>
            <a:endParaRPr lang="en-US"/>
          </a:p>
        </p:txBody>
      </p:sp>
    </p:spTree>
    <p:extLst>
      <p:ext uri="{BB962C8B-B14F-4D97-AF65-F5344CB8AC3E}">
        <p14:creationId xmlns:p14="http://schemas.microsoft.com/office/powerpoint/2010/main" val="40777947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0D83938-53B6-4F7F-8229-5D079F9FC1B3}" type="datetimeFigureOut">
              <a:rPr lang="en-US" smtClean="0"/>
              <a:t>3/25/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FF30B2-9379-4AB3-AECD-377BBA9AACA2}" type="slidenum">
              <a:rPr lang="en-US" smtClean="0"/>
              <a:t>‹#›</a:t>
            </a:fld>
            <a:endParaRPr lang="en-US"/>
          </a:p>
        </p:txBody>
      </p:sp>
    </p:spTree>
    <p:extLst>
      <p:ext uri="{BB962C8B-B14F-4D97-AF65-F5344CB8AC3E}">
        <p14:creationId xmlns:p14="http://schemas.microsoft.com/office/powerpoint/2010/main" val="2925499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D83938-53B6-4F7F-8229-5D079F9FC1B3}" type="datetimeFigureOut">
              <a:rPr lang="en-US" smtClean="0"/>
              <a:t>3/25/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9FF30B2-9379-4AB3-AECD-377BBA9AACA2}" type="slidenum">
              <a:rPr lang="en-US" smtClean="0"/>
              <a:t>‹#›</a:t>
            </a:fld>
            <a:endParaRPr lang="en-US"/>
          </a:p>
        </p:txBody>
      </p:sp>
    </p:spTree>
    <p:extLst>
      <p:ext uri="{BB962C8B-B14F-4D97-AF65-F5344CB8AC3E}">
        <p14:creationId xmlns:p14="http://schemas.microsoft.com/office/powerpoint/2010/main" val="18963156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0D83938-53B6-4F7F-8229-5D079F9FC1B3}" type="datetimeFigureOut">
              <a:rPr lang="en-US" smtClean="0"/>
              <a:t>3/25/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FF30B2-9379-4AB3-AECD-377BBA9AACA2}" type="slidenum">
              <a:rPr lang="en-US" smtClean="0"/>
              <a:t>‹#›</a:t>
            </a:fld>
            <a:endParaRPr lang="en-US"/>
          </a:p>
        </p:txBody>
      </p:sp>
    </p:spTree>
    <p:extLst>
      <p:ext uri="{BB962C8B-B14F-4D97-AF65-F5344CB8AC3E}">
        <p14:creationId xmlns:p14="http://schemas.microsoft.com/office/powerpoint/2010/main" val="3598760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0D83938-53B6-4F7F-8229-5D079F9FC1B3}" type="datetimeFigureOut">
              <a:rPr lang="en-US" smtClean="0"/>
              <a:t>3/25/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9FF30B2-9379-4AB3-AECD-377BBA9AACA2}" type="slidenum">
              <a:rPr lang="en-US" smtClean="0"/>
              <a:t>‹#›</a:t>
            </a:fld>
            <a:endParaRPr lang="en-US"/>
          </a:p>
        </p:txBody>
      </p:sp>
    </p:spTree>
    <p:extLst>
      <p:ext uri="{BB962C8B-B14F-4D97-AF65-F5344CB8AC3E}">
        <p14:creationId xmlns:p14="http://schemas.microsoft.com/office/powerpoint/2010/main" val="1725929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3" Type="http://schemas.openxmlformats.org/officeDocument/2006/relationships/slideLayout" Target="../slideLayouts/slideLayout16.xml"/><Relationship Id="rId7" Type="http://schemas.openxmlformats.org/officeDocument/2006/relationships/vmlDrawing" Target="../drawings/vmlDrawing1.vml"/><Relationship Id="rId12" Type="http://schemas.openxmlformats.org/officeDocument/2006/relationships/tags" Target="../tags/tag5.xml"/><Relationship Id="rId2" Type="http://schemas.openxmlformats.org/officeDocument/2006/relationships/slideLayout" Target="../slideLayouts/slideLayout15.xml"/><Relationship Id="rId16"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theme" Target="../theme/theme2.xml"/><Relationship Id="rId11" Type="http://schemas.openxmlformats.org/officeDocument/2006/relationships/tags" Target="../tags/tag4.xml"/><Relationship Id="rId5" Type="http://schemas.openxmlformats.org/officeDocument/2006/relationships/slideLayout" Target="../slideLayouts/slideLayout18.xml"/><Relationship Id="rId15" Type="http://schemas.openxmlformats.org/officeDocument/2006/relationships/oleObject" Target="../embeddings/oleObject1.bin"/><Relationship Id="rId10" Type="http://schemas.openxmlformats.org/officeDocument/2006/relationships/tags" Target="../tags/tag3.xml"/><Relationship Id="rId4" Type="http://schemas.openxmlformats.org/officeDocument/2006/relationships/slideLayout" Target="../slideLayouts/slideLayout17.xml"/><Relationship Id="rId9" Type="http://schemas.openxmlformats.org/officeDocument/2006/relationships/tags" Target="../tags/tag2.xml"/><Relationship Id="rId14"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D83938-53B6-4F7F-8229-5D079F9FC1B3}" type="datetimeFigureOut">
              <a:rPr lang="en-US" smtClean="0"/>
              <a:t>3/25/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FF30B2-9379-4AB3-AECD-377BBA9AACA2}" type="slidenum">
              <a:rPr lang="en-US" smtClean="0"/>
              <a:t>‹#›</a:t>
            </a:fld>
            <a:endParaRPr lang="en-US"/>
          </a:p>
        </p:txBody>
      </p:sp>
    </p:spTree>
    <p:extLst>
      <p:ext uri="{BB962C8B-B14F-4D97-AF65-F5344CB8AC3E}">
        <p14:creationId xmlns:p14="http://schemas.microsoft.com/office/powerpoint/2010/main" val="29053049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665"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custDataLst>
              <p:tags r:id="rId9"/>
            </p:custDataLst>
          </p:nvPr>
        </p:nvSpPr>
        <p:spPr bwMode="auto">
          <a:xfrm>
            <a:off x="701674" y="468313"/>
            <a:ext cx="8007351" cy="36933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smtClean="0"/>
              <a:t>Slide title</a:t>
            </a:r>
            <a:endParaRPr lang="en-US" dirty="0" smtClean="0"/>
          </a:p>
        </p:txBody>
      </p:sp>
      <p:sp>
        <p:nvSpPr>
          <p:cNvPr id="1034" name="Rectangle 10"/>
          <p:cNvSpPr>
            <a:spLocks noGrp="1" noChangeArrowheads="1"/>
          </p:cNvSpPr>
          <p:nvPr>
            <p:ph type="body" idx="1"/>
            <p:custDataLst>
              <p:tags r:id="rId10"/>
            </p:custDataLst>
          </p:nvPr>
        </p:nvSpPr>
        <p:spPr bwMode="auto">
          <a:xfrm>
            <a:off x="701674" y="1509714"/>
            <a:ext cx="8007352"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US" smtClean="0"/>
              <a:t>Body text</a:t>
            </a:r>
          </a:p>
          <a:p>
            <a:pPr lvl="1"/>
            <a:r>
              <a:rPr lang="en-US" smtClean="0"/>
              <a:t>First level</a:t>
            </a:r>
          </a:p>
          <a:p>
            <a:pPr lvl="2"/>
            <a:r>
              <a:rPr lang="en-US" smtClean="0"/>
              <a:t>Second level</a:t>
            </a:r>
          </a:p>
          <a:p>
            <a:pPr lvl="3"/>
            <a:r>
              <a:rPr lang="en-US" smtClean="0"/>
              <a:t>Third level</a:t>
            </a:r>
            <a:endParaRPr lang="en-US" dirty="0" smtClean="0"/>
          </a:p>
        </p:txBody>
      </p:sp>
      <p:sp>
        <p:nvSpPr>
          <p:cNvPr id="9" name="Rectangle 53"/>
          <p:cNvSpPr>
            <a:spLocks noGrp="1" noChangeArrowheads="1"/>
          </p:cNvSpPr>
          <p:nvPr>
            <p:ph type="sldNum" sz="quarter" idx="4"/>
            <p:custDataLst>
              <p:tags r:id="rId11"/>
            </p:custDataLst>
          </p:nvPr>
        </p:nvSpPr>
        <p:spPr bwMode="auto">
          <a:xfrm>
            <a:off x="6553200" y="6348413"/>
            <a:ext cx="2133600" cy="47625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a:solidFill>
                  <a:schemeClr val="bg1"/>
                </a:solidFill>
                <a:latin typeface="Arial" pitchFamily="34" charset="0"/>
                <a:cs typeface="Arial" pitchFamily="34" charset="0"/>
              </a:defRPr>
            </a:lvl1pPr>
          </a:lstStyle>
          <a:p>
            <a:pPr fontAlgn="base">
              <a:spcBef>
                <a:spcPct val="50000"/>
              </a:spcBef>
              <a:spcAft>
                <a:spcPct val="0"/>
              </a:spcAft>
            </a:pPr>
            <a:fld id="{5B9C0FB7-98A4-4412-B055-7684C9798A06}" type="slidenum">
              <a:rPr lang="en-US" sz="1400" smtClean="0">
                <a:solidFill>
                  <a:srgbClr val="FFFFFF"/>
                </a:solidFill>
              </a:rPr>
              <a:pPr fontAlgn="base">
                <a:spcBef>
                  <a:spcPct val="50000"/>
                </a:spcBef>
                <a:spcAft>
                  <a:spcPct val="0"/>
                </a:spcAft>
              </a:pPr>
              <a:t>‹#›</a:t>
            </a:fld>
            <a:endParaRPr lang="en-US" sz="1400">
              <a:solidFill>
                <a:srgbClr val="FFFFFF"/>
              </a:solidFill>
            </a:endParaRPr>
          </a:p>
        </p:txBody>
      </p:sp>
      <p:sp>
        <p:nvSpPr>
          <p:cNvPr id="10" name="Rectangle 15"/>
          <p:cNvSpPr/>
          <p:nvPr>
            <p:custDataLst>
              <p:tags r:id="rId12"/>
            </p:custDataLst>
          </p:nvPr>
        </p:nvSpPr>
        <p:spPr bwMode="auto">
          <a:xfrm>
            <a:off x="0" y="6293999"/>
            <a:ext cx="9144000" cy="564001"/>
          </a:xfrm>
          <a:prstGeom prst="rect">
            <a:avLst/>
          </a:prstGeom>
          <a:solidFill>
            <a:srgbClr val="8CB7C7"/>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a:defRPr/>
            </a:pPr>
            <a:endParaRPr lang="en-US" sz="2300" dirty="0">
              <a:solidFill>
                <a:srgbClr val="987C00">
                  <a:lumMod val="50000"/>
                </a:srgbClr>
              </a:solidFill>
              <a:cs typeface="Arial"/>
              <a:sym typeface="Arial"/>
            </a:endParaRPr>
          </a:p>
        </p:txBody>
      </p:sp>
      <p:sp>
        <p:nvSpPr>
          <p:cNvPr id="11" name="Footer Placeholder 4"/>
          <p:cNvSpPr txBox="1">
            <a:spLocks/>
          </p:cNvSpPr>
          <p:nvPr>
            <p:custDataLst>
              <p:tags r:id="rId13"/>
            </p:custDataLst>
          </p:nvPr>
        </p:nvSpPr>
        <p:spPr>
          <a:xfrm>
            <a:off x="6137275" y="6450013"/>
            <a:ext cx="2513013" cy="250825"/>
          </a:xfrm>
          <a:prstGeom prst="rect">
            <a:avLst/>
          </a:prstGeom>
        </p:spPr>
        <p:txBody>
          <a:bodyPr/>
          <a:lstStyle>
            <a:lvl1pPr marL="0" algn="l" defTabSz="914363" rtl="0" eaLnBrk="1" latinLnBrk="0" hangingPunct="1">
              <a:defRPr lang="en-US" sz="1100" kern="1200" smtClean="0">
                <a:solidFill>
                  <a:srgbClr val="FFFFFF"/>
                </a:solidFill>
                <a:latin typeface="+mn-lt"/>
                <a:ea typeface="+mn-ea"/>
                <a:cs typeface="+mn-cs"/>
              </a:defRPr>
            </a:lvl1pPr>
          </a:lstStyle>
          <a:p>
            <a:pPr>
              <a:defRPr/>
            </a:pPr>
            <a:r>
              <a:rPr sz="800" spc="10">
                <a:cs typeface="Arial" pitchFamily="34" charset="0"/>
              </a:rPr>
              <a:t>© 2012 Bill &amp; Melinda Gates Foundation</a:t>
            </a:r>
            <a:r>
              <a:rPr sz="800">
                <a:cs typeface="Arial" pitchFamily="34" charset="0"/>
              </a:rPr>
              <a:t>     </a:t>
            </a:r>
            <a:r>
              <a:rPr sz="900">
                <a:cs typeface="Arial" pitchFamily="34" charset="0"/>
              </a:rPr>
              <a:t> </a:t>
            </a:r>
            <a:r>
              <a:rPr>
                <a:cs typeface="Arial" pitchFamily="34" charset="0"/>
              </a:rPr>
              <a:t>| </a:t>
            </a:r>
            <a:r>
              <a:rPr sz="900">
                <a:cs typeface="Arial" pitchFamily="34" charset="0"/>
              </a:rPr>
              <a:t>                     </a:t>
            </a:r>
            <a:endParaRPr sz="900" dirty="0">
              <a:cs typeface="Arial" pitchFamily="34" charset="0"/>
            </a:endParaRPr>
          </a:p>
        </p:txBody>
      </p:sp>
      <p:sp>
        <p:nvSpPr>
          <p:cNvPr id="12" name="Slide Number Placeholder 5"/>
          <p:cNvSpPr txBox="1">
            <a:spLocks/>
          </p:cNvSpPr>
          <p:nvPr>
            <p:custDataLst>
              <p:tags r:id="rId14"/>
            </p:custDataLst>
          </p:nvPr>
        </p:nvSpPr>
        <p:spPr>
          <a:xfrm>
            <a:off x="8394700" y="6461125"/>
            <a:ext cx="441325" cy="365125"/>
          </a:xfrm>
          <a:prstGeom prst="rect">
            <a:avLst/>
          </a:prstGeom>
        </p:spPr>
        <p:txBody>
          <a:bodyPr/>
          <a:lstStyle>
            <a:lvl1pPr defTabSz="914363" fontAlgn="auto">
              <a:spcBef>
                <a:spcPts val="0"/>
              </a:spcBef>
              <a:spcAft>
                <a:spcPts val="0"/>
              </a:spcAft>
              <a:defRPr sz="1000">
                <a:solidFill>
                  <a:srgbClr val="FFFFFF"/>
                </a:solidFill>
                <a:latin typeface="+mn-lt"/>
                <a:cs typeface="+mn-cs"/>
              </a:defRPr>
            </a:lvl1pPr>
          </a:lstStyle>
          <a:p>
            <a:pPr>
              <a:defRPr/>
            </a:pPr>
            <a:fld id="{9653225F-8A32-4FDE-A3E1-837FEBD899BF}" type="slidenum">
              <a:rPr lang="en-US" smtClean="0">
                <a:cs typeface="Arial" pitchFamily="34" charset="0"/>
              </a:rPr>
              <a:pPr>
                <a:defRPr/>
              </a:pPr>
              <a:t>‹#›</a:t>
            </a:fld>
            <a:endParaRPr lang="en-US" dirty="0">
              <a:cs typeface="Arial" pitchFamily="34" charset="0"/>
            </a:endParaRPr>
          </a:p>
        </p:txBody>
      </p:sp>
    </p:spTree>
    <p:extLst>
      <p:ext uri="{BB962C8B-B14F-4D97-AF65-F5344CB8AC3E}">
        <p14:creationId xmlns:p14="http://schemas.microsoft.com/office/powerpoint/2010/main" val="180256120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Lst>
  <p:txStyles>
    <p:titleStyle>
      <a:lvl1pPr algn="l" defTabSz="889000" rtl="0" eaLnBrk="1" fontAlgn="base" hangingPunct="1">
        <a:spcBef>
          <a:spcPct val="0"/>
        </a:spcBef>
        <a:spcAft>
          <a:spcPct val="0"/>
        </a:spcAft>
        <a:defRPr sz="2400" b="1" baseline="0">
          <a:solidFill>
            <a:srgbClr val="59452A"/>
          </a:solidFill>
          <a:latin typeface="+mj-lt"/>
          <a:ea typeface="+mj-ea"/>
          <a:cs typeface="Arial"/>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ts val="0"/>
        </a:spcBef>
        <a:spcAft>
          <a:spcPct val="0"/>
        </a:spcAft>
        <a:defRPr sz="1600" b="1">
          <a:solidFill>
            <a:srgbClr val="59452A"/>
          </a:solidFill>
          <a:latin typeface="+mn-lt"/>
          <a:ea typeface="+mn-ea"/>
          <a:cs typeface="Arial"/>
        </a:defRPr>
      </a:lvl1pPr>
      <a:lvl2pPr marL="444500" indent="-222250" algn="l" defTabSz="889000" rtl="0" eaLnBrk="1" fontAlgn="base" hangingPunct="1">
        <a:spcBef>
          <a:spcPts val="0"/>
        </a:spcBef>
        <a:spcAft>
          <a:spcPct val="0"/>
        </a:spcAft>
        <a:buClr>
          <a:srgbClr val="CE6B2A"/>
        </a:buClr>
        <a:buFont typeface="Wingdings" pitchFamily="2" charset="2"/>
        <a:buChar char="§"/>
        <a:defRPr sz="1600">
          <a:solidFill>
            <a:srgbClr val="59452A"/>
          </a:solidFill>
          <a:latin typeface="+mn-lt"/>
          <a:cs typeface="Arial"/>
        </a:defRPr>
      </a:lvl2pPr>
      <a:lvl3pPr marL="889000" indent="-222250" algn="l" defTabSz="889000" rtl="0" eaLnBrk="1" fontAlgn="base" hangingPunct="1">
        <a:spcBef>
          <a:spcPts val="0"/>
        </a:spcBef>
        <a:spcAft>
          <a:spcPct val="0"/>
        </a:spcAft>
        <a:buClr>
          <a:srgbClr val="CE6B2A"/>
        </a:buClr>
        <a:buFont typeface="Arial" pitchFamily="34" charset="0"/>
        <a:buChar char="•"/>
        <a:defRPr sz="1600">
          <a:solidFill>
            <a:srgbClr val="59452A"/>
          </a:solidFill>
          <a:latin typeface="+mn-lt"/>
          <a:cs typeface="Arial"/>
        </a:defRPr>
      </a:lvl3pPr>
      <a:lvl4pPr marL="1338263" indent="-227013" algn="l" defTabSz="889000" rtl="0" eaLnBrk="1" fontAlgn="base" hangingPunct="1">
        <a:spcBef>
          <a:spcPts val="0"/>
        </a:spcBef>
        <a:spcAft>
          <a:spcPct val="0"/>
        </a:spcAft>
        <a:buClr>
          <a:srgbClr val="CE6B2A"/>
        </a:buClr>
        <a:buFont typeface="Trebuchet MS" pitchFamily="34" charset="0"/>
        <a:buChar char="–"/>
        <a:defRPr sz="1600">
          <a:solidFill>
            <a:srgbClr val="59452A"/>
          </a:solidFill>
          <a:latin typeface="+mn-lt"/>
          <a:cs typeface="Arial"/>
        </a:defRPr>
      </a:lvl4pPr>
      <a:lvl5pPr marL="19986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base">
              <a:spcBef>
                <a:spcPct val="0"/>
              </a:spcBef>
              <a:spcAft>
                <a:spcPct val="0"/>
              </a:spcAft>
              <a:defRPr/>
            </a:pPr>
            <a:endParaRPr lang="en-US">
              <a:solidFill>
                <a:prstClr val="black">
                  <a:tint val="75000"/>
                </a:prstClr>
              </a:solidFill>
              <a:latin typeface="Arial" charset="0"/>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base">
              <a:spcBef>
                <a:spcPct val="0"/>
              </a:spcBef>
              <a:spcAft>
                <a:spcPct val="0"/>
              </a:spcAft>
              <a:defRPr/>
            </a:pPr>
            <a:endParaRPr lang="en-US">
              <a:solidFill>
                <a:prstClr val="black">
                  <a:tint val="75000"/>
                </a:prstClr>
              </a:solidFill>
              <a:latin typeface="Arial" charset="0"/>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base">
              <a:spcBef>
                <a:spcPct val="0"/>
              </a:spcBef>
              <a:spcAft>
                <a:spcPct val="0"/>
              </a:spcAft>
              <a:defRPr/>
            </a:pPr>
            <a:fld id="{567911BB-DD1D-4006-8EBB-7D9020F1D3FE}" type="slidenum">
              <a:rPr lang="en-US" smtClean="0">
                <a:solidFill>
                  <a:prstClr val="black">
                    <a:tint val="75000"/>
                  </a:prstClr>
                </a:solidFill>
                <a:latin typeface="Arial" charset="0"/>
              </a:rPr>
              <a:pPr fontAlgn="base">
                <a:spcBef>
                  <a:spcPct val="0"/>
                </a:spcBef>
                <a:spcAft>
                  <a:spcPct val="0"/>
                </a:spcAft>
                <a:defRPr/>
              </a:pPr>
              <a:t>‹#›</a:t>
            </a:fld>
            <a:endParaRPr lang="en-US">
              <a:solidFill>
                <a:prstClr val="black">
                  <a:tint val="75000"/>
                </a:prstClr>
              </a:solidFill>
              <a:latin typeface="Arial" charset="0"/>
            </a:endParaRPr>
          </a:p>
        </p:txBody>
      </p:sp>
    </p:spTree>
    <p:extLst>
      <p:ext uri="{BB962C8B-B14F-4D97-AF65-F5344CB8AC3E}">
        <p14:creationId xmlns:p14="http://schemas.microsoft.com/office/powerpoint/2010/main" val="33704549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transition>
    <p:fade/>
  </p:transition>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vmlDrawing" Target="../drawings/vmlDrawing7.vml"/><Relationship Id="rId5" Type="http://schemas.openxmlformats.org/officeDocument/2006/relationships/image" Target="../media/image26.emf"/><Relationship Id="rId4" Type="http://schemas.openxmlformats.org/officeDocument/2006/relationships/oleObject" Target="../embeddings/Microsoft_Word_97_-_2003_Document1.doc"/></Relationships>
</file>

<file path=ppt/slides/_rels/slide2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hyperlink" Target="http://www.who.int/entity/immunization_delivery/systems_policy/AFRO-RED_Aug2008.pdf"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www.who.int/immunization_monitoring/en/globalsummary/scheduleselect.cfm" TargetMode="Externa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2.xml"/><Relationship Id="rId5" Type="http://schemas.openxmlformats.org/officeDocument/2006/relationships/image" Target="../media/image40.jpeg"/><Relationship Id="rId4" Type="http://schemas.openxmlformats.org/officeDocument/2006/relationships/image" Target="../media/image39.jpe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17" Type="http://schemas.openxmlformats.org/officeDocument/2006/relationships/tags" Target="../tags/tag132.xml"/><Relationship Id="rId299" Type="http://schemas.openxmlformats.org/officeDocument/2006/relationships/tags" Target="../tags/tag314.xml"/><Relationship Id="rId21" Type="http://schemas.openxmlformats.org/officeDocument/2006/relationships/tags" Target="../tags/tag36.xml"/><Relationship Id="rId63" Type="http://schemas.openxmlformats.org/officeDocument/2006/relationships/tags" Target="../tags/tag78.xml"/><Relationship Id="rId159" Type="http://schemas.openxmlformats.org/officeDocument/2006/relationships/tags" Target="../tags/tag174.xml"/><Relationship Id="rId324" Type="http://schemas.openxmlformats.org/officeDocument/2006/relationships/tags" Target="../tags/tag339.xml"/><Relationship Id="rId366" Type="http://schemas.openxmlformats.org/officeDocument/2006/relationships/tags" Target="../tags/tag381.xml"/><Relationship Id="rId531" Type="http://schemas.openxmlformats.org/officeDocument/2006/relationships/tags" Target="../tags/tag546.xml"/><Relationship Id="rId573" Type="http://schemas.openxmlformats.org/officeDocument/2006/relationships/image" Target="../media/image6.emf"/><Relationship Id="rId170" Type="http://schemas.openxmlformats.org/officeDocument/2006/relationships/tags" Target="../tags/tag185.xml"/><Relationship Id="rId226" Type="http://schemas.openxmlformats.org/officeDocument/2006/relationships/tags" Target="../tags/tag241.xml"/><Relationship Id="rId433" Type="http://schemas.openxmlformats.org/officeDocument/2006/relationships/tags" Target="../tags/tag448.xml"/><Relationship Id="rId268" Type="http://schemas.openxmlformats.org/officeDocument/2006/relationships/tags" Target="../tags/tag283.xml"/><Relationship Id="rId475" Type="http://schemas.openxmlformats.org/officeDocument/2006/relationships/tags" Target="../tags/tag490.xml"/><Relationship Id="rId32" Type="http://schemas.openxmlformats.org/officeDocument/2006/relationships/tags" Target="../tags/tag47.xml"/><Relationship Id="rId74" Type="http://schemas.openxmlformats.org/officeDocument/2006/relationships/tags" Target="../tags/tag89.xml"/><Relationship Id="rId128" Type="http://schemas.openxmlformats.org/officeDocument/2006/relationships/tags" Target="../tags/tag143.xml"/><Relationship Id="rId335" Type="http://schemas.openxmlformats.org/officeDocument/2006/relationships/tags" Target="../tags/tag350.xml"/><Relationship Id="rId377" Type="http://schemas.openxmlformats.org/officeDocument/2006/relationships/tags" Target="../tags/tag392.xml"/><Relationship Id="rId500" Type="http://schemas.openxmlformats.org/officeDocument/2006/relationships/tags" Target="../tags/tag515.xml"/><Relationship Id="rId542" Type="http://schemas.openxmlformats.org/officeDocument/2006/relationships/tags" Target="../tags/tag557.xml"/><Relationship Id="rId584" Type="http://schemas.openxmlformats.org/officeDocument/2006/relationships/image" Target="../media/image15.wmf"/><Relationship Id="rId5" Type="http://schemas.openxmlformats.org/officeDocument/2006/relationships/tags" Target="../tags/tag20.xml"/><Relationship Id="rId181" Type="http://schemas.openxmlformats.org/officeDocument/2006/relationships/tags" Target="../tags/tag196.xml"/><Relationship Id="rId237" Type="http://schemas.openxmlformats.org/officeDocument/2006/relationships/tags" Target="../tags/tag252.xml"/><Relationship Id="rId402" Type="http://schemas.openxmlformats.org/officeDocument/2006/relationships/tags" Target="../tags/tag417.xml"/><Relationship Id="rId279" Type="http://schemas.openxmlformats.org/officeDocument/2006/relationships/tags" Target="../tags/tag294.xml"/><Relationship Id="rId444" Type="http://schemas.openxmlformats.org/officeDocument/2006/relationships/tags" Target="../tags/tag459.xml"/><Relationship Id="rId486" Type="http://schemas.openxmlformats.org/officeDocument/2006/relationships/tags" Target="../tags/tag501.xml"/><Relationship Id="rId43" Type="http://schemas.openxmlformats.org/officeDocument/2006/relationships/tags" Target="../tags/tag58.xml"/><Relationship Id="rId139" Type="http://schemas.openxmlformats.org/officeDocument/2006/relationships/tags" Target="../tags/tag154.xml"/><Relationship Id="rId290" Type="http://schemas.openxmlformats.org/officeDocument/2006/relationships/tags" Target="../tags/tag305.xml"/><Relationship Id="rId304" Type="http://schemas.openxmlformats.org/officeDocument/2006/relationships/tags" Target="../tags/tag319.xml"/><Relationship Id="rId346" Type="http://schemas.openxmlformats.org/officeDocument/2006/relationships/tags" Target="../tags/tag361.xml"/><Relationship Id="rId388" Type="http://schemas.openxmlformats.org/officeDocument/2006/relationships/tags" Target="../tags/tag403.xml"/><Relationship Id="rId511" Type="http://schemas.openxmlformats.org/officeDocument/2006/relationships/tags" Target="../tags/tag526.xml"/><Relationship Id="rId553" Type="http://schemas.openxmlformats.org/officeDocument/2006/relationships/tags" Target="../tags/tag568.xml"/><Relationship Id="rId85" Type="http://schemas.openxmlformats.org/officeDocument/2006/relationships/tags" Target="../tags/tag100.xml"/><Relationship Id="rId150" Type="http://schemas.openxmlformats.org/officeDocument/2006/relationships/tags" Target="../tags/tag165.xml"/><Relationship Id="rId192" Type="http://schemas.openxmlformats.org/officeDocument/2006/relationships/tags" Target="../tags/tag207.xml"/><Relationship Id="rId206" Type="http://schemas.openxmlformats.org/officeDocument/2006/relationships/tags" Target="../tags/tag221.xml"/><Relationship Id="rId413" Type="http://schemas.openxmlformats.org/officeDocument/2006/relationships/tags" Target="../tags/tag428.xml"/><Relationship Id="rId595" Type="http://schemas.openxmlformats.org/officeDocument/2006/relationships/image" Target="../media/image23.png"/><Relationship Id="rId248" Type="http://schemas.openxmlformats.org/officeDocument/2006/relationships/tags" Target="../tags/tag263.xml"/><Relationship Id="rId455" Type="http://schemas.openxmlformats.org/officeDocument/2006/relationships/tags" Target="../tags/tag470.xml"/><Relationship Id="rId497" Type="http://schemas.openxmlformats.org/officeDocument/2006/relationships/tags" Target="../tags/tag512.xml"/><Relationship Id="rId12" Type="http://schemas.openxmlformats.org/officeDocument/2006/relationships/tags" Target="../tags/tag27.xml"/><Relationship Id="rId108" Type="http://schemas.openxmlformats.org/officeDocument/2006/relationships/tags" Target="../tags/tag123.xml"/><Relationship Id="rId315" Type="http://schemas.openxmlformats.org/officeDocument/2006/relationships/tags" Target="../tags/tag330.xml"/><Relationship Id="rId357" Type="http://schemas.openxmlformats.org/officeDocument/2006/relationships/tags" Target="../tags/tag372.xml"/><Relationship Id="rId522" Type="http://schemas.openxmlformats.org/officeDocument/2006/relationships/tags" Target="../tags/tag537.xml"/><Relationship Id="rId54" Type="http://schemas.openxmlformats.org/officeDocument/2006/relationships/tags" Target="../tags/tag69.xml"/><Relationship Id="rId96" Type="http://schemas.openxmlformats.org/officeDocument/2006/relationships/tags" Target="../tags/tag111.xml"/><Relationship Id="rId161" Type="http://schemas.openxmlformats.org/officeDocument/2006/relationships/tags" Target="../tags/tag176.xml"/><Relationship Id="rId217" Type="http://schemas.openxmlformats.org/officeDocument/2006/relationships/tags" Target="../tags/tag232.xml"/><Relationship Id="rId399" Type="http://schemas.openxmlformats.org/officeDocument/2006/relationships/tags" Target="../tags/tag414.xml"/><Relationship Id="rId564" Type="http://schemas.openxmlformats.org/officeDocument/2006/relationships/tags" Target="../tags/tag579.xml"/><Relationship Id="rId259" Type="http://schemas.openxmlformats.org/officeDocument/2006/relationships/tags" Target="../tags/tag274.xml"/><Relationship Id="rId424" Type="http://schemas.openxmlformats.org/officeDocument/2006/relationships/tags" Target="../tags/tag439.xml"/><Relationship Id="rId466" Type="http://schemas.openxmlformats.org/officeDocument/2006/relationships/tags" Target="../tags/tag481.xml"/><Relationship Id="rId23" Type="http://schemas.openxmlformats.org/officeDocument/2006/relationships/tags" Target="../tags/tag38.xml"/><Relationship Id="rId119" Type="http://schemas.openxmlformats.org/officeDocument/2006/relationships/tags" Target="../tags/tag134.xml"/><Relationship Id="rId270" Type="http://schemas.openxmlformats.org/officeDocument/2006/relationships/tags" Target="../tags/tag285.xml"/><Relationship Id="rId326" Type="http://schemas.openxmlformats.org/officeDocument/2006/relationships/tags" Target="../tags/tag341.xml"/><Relationship Id="rId533" Type="http://schemas.openxmlformats.org/officeDocument/2006/relationships/tags" Target="../tags/tag548.xml"/><Relationship Id="rId65" Type="http://schemas.openxmlformats.org/officeDocument/2006/relationships/tags" Target="../tags/tag80.xml"/><Relationship Id="rId130" Type="http://schemas.openxmlformats.org/officeDocument/2006/relationships/tags" Target="../tags/tag145.xml"/><Relationship Id="rId368" Type="http://schemas.openxmlformats.org/officeDocument/2006/relationships/tags" Target="../tags/tag383.xml"/><Relationship Id="rId575" Type="http://schemas.openxmlformats.org/officeDocument/2006/relationships/image" Target="../media/image8.emf"/><Relationship Id="rId172" Type="http://schemas.openxmlformats.org/officeDocument/2006/relationships/tags" Target="../tags/tag187.xml"/><Relationship Id="rId228" Type="http://schemas.openxmlformats.org/officeDocument/2006/relationships/tags" Target="../tags/tag243.xml"/><Relationship Id="rId435" Type="http://schemas.openxmlformats.org/officeDocument/2006/relationships/tags" Target="../tags/tag450.xml"/><Relationship Id="rId477" Type="http://schemas.openxmlformats.org/officeDocument/2006/relationships/tags" Target="../tags/tag492.xml"/><Relationship Id="rId281" Type="http://schemas.openxmlformats.org/officeDocument/2006/relationships/tags" Target="../tags/tag296.xml"/><Relationship Id="rId337" Type="http://schemas.openxmlformats.org/officeDocument/2006/relationships/tags" Target="../tags/tag352.xml"/><Relationship Id="rId502" Type="http://schemas.openxmlformats.org/officeDocument/2006/relationships/tags" Target="../tags/tag517.xml"/><Relationship Id="rId34" Type="http://schemas.openxmlformats.org/officeDocument/2006/relationships/tags" Target="../tags/tag49.xml"/><Relationship Id="rId76" Type="http://schemas.openxmlformats.org/officeDocument/2006/relationships/tags" Target="../tags/tag91.xml"/><Relationship Id="rId141" Type="http://schemas.openxmlformats.org/officeDocument/2006/relationships/tags" Target="../tags/tag156.xml"/><Relationship Id="rId379" Type="http://schemas.openxmlformats.org/officeDocument/2006/relationships/tags" Target="../tags/tag394.xml"/><Relationship Id="rId544" Type="http://schemas.openxmlformats.org/officeDocument/2006/relationships/tags" Target="../tags/tag559.xml"/><Relationship Id="rId586" Type="http://schemas.microsoft.com/office/2007/relationships/hdphoto" Target="../media/hdphoto3.wdp"/><Relationship Id="rId7" Type="http://schemas.openxmlformats.org/officeDocument/2006/relationships/tags" Target="../tags/tag22.xml"/><Relationship Id="rId183" Type="http://schemas.openxmlformats.org/officeDocument/2006/relationships/tags" Target="../tags/tag198.xml"/><Relationship Id="rId239" Type="http://schemas.openxmlformats.org/officeDocument/2006/relationships/tags" Target="../tags/tag254.xml"/><Relationship Id="rId390" Type="http://schemas.openxmlformats.org/officeDocument/2006/relationships/tags" Target="../tags/tag405.xml"/><Relationship Id="rId404" Type="http://schemas.openxmlformats.org/officeDocument/2006/relationships/tags" Target="../tags/tag419.xml"/><Relationship Id="rId446" Type="http://schemas.openxmlformats.org/officeDocument/2006/relationships/tags" Target="../tags/tag461.xml"/><Relationship Id="rId250" Type="http://schemas.openxmlformats.org/officeDocument/2006/relationships/tags" Target="../tags/tag265.xml"/><Relationship Id="rId292" Type="http://schemas.openxmlformats.org/officeDocument/2006/relationships/tags" Target="../tags/tag307.xml"/><Relationship Id="rId306" Type="http://schemas.openxmlformats.org/officeDocument/2006/relationships/tags" Target="../tags/tag321.xml"/><Relationship Id="rId488" Type="http://schemas.openxmlformats.org/officeDocument/2006/relationships/tags" Target="../tags/tag503.xml"/><Relationship Id="rId45" Type="http://schemas.openxmlformats.org/officeDocument/2006/relationships/tags" Target="../tags/tag60.xml"/><Relationship Id="rId87" Type="http://schemas.openxmlformats.org/officeDocument/2006/relationships/tags" Target="../tags/tag102.xml"/><Relationship Id="rId110" Type="http://schemas.openxmlformats.org/officeDocument/2006/relationships/tags" Target="../tags/tag125.xml"/><Relationship Id="rId348" Type="http://schemas.openxmlformats.org/officeDocument/2006/relationships/tags" Target="../tags/tag363.xml"/><Relationship Id="rId513" Type="http://schemas.openxmlformats.org/officeDocument/2006/relationships/tags" Target="../tags/tag528.xml"/><Relationship Id="rId555" Type="http://schemas.openxmlformats.org/officeDocument/2006/relationships/tags" Target="../tags/tag570.xml"/><Relationship Id="rId597" Type="http://schemas.microsoft.com/office/2007/relationships/hdphoto" Target="../media/hdphoto6.wdp"/><Relationship Id="rId152" Type="http://schemas.openxmlformats.org/officeDocument/2006/relationships/tags" Target="../tags/tag167.xml"/><Relationship Id="rId194" Type="http://schemas.openxmlformats.org/officeDocument/2006/relationships/tags" Target="../tags/tag209.xml"/><Relationship Id="rId208" Type="http://schemas.openxmlformats.org/officeDocument/2006/relationships/tags" Target="../tags/tag223.xml"/><Relationship Id="rId415" Type="http://schemas.openxmlformats.org/officeDocument/2006/relationships/tags" Target="../tags/tag430.xml"/><Relationship Id="rId457" Type="http://schemas.openxmlformats.org/officeDocument/2006/relationships/tags" Target="../tags/tag472.xml"/><Relationship Id="rId261" Type="http://schemas.openxmlformats.org/officeDocument/2006/relationships/tags" Target="../tags/tag276.xml"/><Relationship Id="rId499" Type="http://schemas.openxmlformats.org/officeDocument/2006/relationships/tags" Target="../tags/tag514.xml"/><Relationship Id="rId14" Type="http://schemas.openxmlformats.org/officeDocument/2006/relationships/tags" Target="../tags/tag29.xml"/><Relationship Id="rId56" Type="http://schemas.openxmlformats.org/officeDocument/2006/relationships/tags" Target="../tags/tag71.xml"/><Relationship Id="rId317" Type="http://schemas.openxmlformats.org/officeDocument/2006/relationships/tags" Target="../tags/tag332.xml"/><Relationship Id="rId359" Type="http://schemas.openxmlformats.org/officeDocument/2006/relationships/tags" Target="../tags/tag374.xml"/><Relationship Id="rId524" Type="http://schemas.openxmlformats.org/officeDocument/2006/relationships/tags" Target="../tags/tag539.xml"/><Relationship Id="rId566" Type="http://schemas.openxmlformats.org/officeDocument/2006/relationships/tags" Target="../tags/tag581.xml"/><Relationship Id="rId98" Type="http://schemas.openxmlformats.org/officeDocument/2006/relationships/tags" Target="../tags/tag113.xml"/><Relationship Id="rId121" Type="http://schemas.openxmlformats.org/officeDocument/2006/relationships/tags" Target="../tags/tag136.xml"/><Relationship Id="rId163" Type="http://schemas.openxmlformats.org/officeDocument/2006/relationships/tags" Target="../tags/tag178.xml"/><Relationship Id="rId219" Type="http://schemas.openxmlformats.org/officeDocument/2006/relationships/tags" Target="../tags/tag234.xml"/><Relationship Id="rId370" Type="http://schemas.openxmlformats.org/officeDocument/2006/relationships/tags" Target="../tags/tag385.xml"/><Relationship Id="rId426" Type="http://schemas.openxmlformats.org/officeDocument/2006/relationships/tags" Target="../tags/tag441.xml"/><Relationship Id="rId230" Type="http://schemas.openxmlformats.org/officeDocument/2006/relationships/tags" Target="../tags/tag245.xml"/><Relationship Id="rId468" Type="http://schemas.openxmlformats.org/officeDocument/2006/relationships/tags" Target="../tags/tag483.xml"/><Relationship Id="rId25" Type="http://schemas.openxmlformats.org/officeDocument/2006/relationships/tags" Target="../tags/tag40.xml"/><Relationship Id="rId67" Type="http://schemas.openxmlformats.org/officeDocument/2006/relationships/tags" Target="../tags/tag82.xml"/><Relationship Id="rId272" Type="http://schemas.openxmlformats.org/officeDocument/2006/relationships/tags" Target="../tags/tag287.xml"/><Relationship Id="rId328" Type="http://schemas.openxmlformats.org/officeDocument/2006/relationships/tags" Target="../tags/tag343.xml"/><Relationship Id="rId535" Type="http://schemas.openxmlformats.org/officeDocument/2006/relationships/tags" Target="../tags/tag550.xml"/><Relationship Id="rId577" Type="http://schemas.openxmlformats.org/officeDocument/2006/relationships/image" Target="../media/image10.emf"/><Relationship Id="rId132" Type="http://schemas.openxmlformats.org/officeDocument/2006/relationships/tags" Target="../tags/tag147.xml"/><Relationship Id="rId174" Type="http://schemas.openxmlformats.org/officeDocument/2006/relationships/tags" Target="../tags/tag189.xml"/><Relationship Id="rId381" Type="http://schemas.openxmlformats.org/officeDocument/2006/relationships/tags" Target="../tags/tag396.xml"/><Relationship Id="rId241" Type="http://schemas.openxmlformats.org/officeDocument/2006/relationships/tags" Target="../tags/tag256.xml"/><Relationship Id="rId437" Type="http://schemas.openxmlformats.org/officeDocument/2006/relationships/tags" Target="../tags/tag452.xml"/><Relationship Id="rId479" Type="http://schemas.openxmlformats.org/officeDocument/2006/relationships/tags" Target="../tags/tag494.xml"/><Relationship Id="rId36" Type="http://schemas.openxmlformats.org/officeDocument/2006/relationships/tags" Target="../tags/tag51.xml"/><Relationship Id="rId283" Type="http://schemas.openxmlformats.org/officeDocument/2006/relationships/tags" Target="../tags/tag298.xml"/><Relationship Id="rId339" Type="http://schemas.openxmlformats.org/officeDocument/2006/relationships/tags" Target="../tags/tag354.xml"/><Relationship Id="rId490" Type="http://schemas.openxmlformats.org/officeDocument/2006/relationships/tags" Target="../tags/tag505.xml"/><Relationship Id="rId504" Type="http://schemas.openxmlformats.org/officeDocument/2006/relationships/tags" Target="../tags/tag519.xml"/><Relationship Id="rId546" Type="http://schemas.openxmlformats.org/officeDocument/2006/relationships/tags" Target="../tags/tag561.xml"/><Relationship Id="rId78" Type="http://schemas.openxmlformats.org/officeDocument/2006/relationships/tags" Target="../tags/tag93.xml"/><Relationship Id="rId101" Type="http://schemas.openxmlformats.org/officeDocument/2006/relationships/tags" Target="../tags/tag116.xml"/><Relationship Id="rId143" Type="http://schemas.openxmlformats.org/officeDocument/2006/relationships/tags" Target="../tags/tag158.xml"/><Relationship Id="rId185" Type="http://schemas.openxmlformats.org/officeDocument/2006/relationships/tags" Target="../tags/tag200.xml"/><Relationship Id="rId350" Type="http://schemas.openxmlformats.org/officeDocument/2006/relationships/tags" Target="../tags/tag365.xml"/><Relationship Id="rId406" Type="http://schemas.openxmlformats.org/officeDocument/2006/relationships/tags" Target="../tags/tag421.xml"/><Relationship Id="rId588" Type="http://schemas.openxmlformats.org/officeDocument/2006/relationships/image" Target="../media/image18.wmf"/><Relationship Id="rId9" Type="http://schemas.openxmlformats.org/officeDocument/2006/relationships/tags" Target="../tags/tag24.xml"/><Relationship Id="rId210" Type="http://schemas.openxmlformats.org/officeDocument/2006/relationships/tags" Target="../tags/tag225.xml"/><Relationship Id="rId392" Type="http://schemas.openxmlformats.org/officeDocument/2006/relationships/tags" Target="../tags/tag407.xml"/><Relationship Id="rId448" Type="http://schemas.openxmlformats.org/officeDocument/2006/relationships/tags" Target="../tags/tag463.xml"/><Relationship Id="rId252" Type="http://schemas.openxmlformats.org/officeDocument/2006/relationships/tags" Target="../tags/tag267.xml"/><Relationship Id="rId294" Type="http://schemas.openxmlformats.org/officeDocument/2006/relationships/tags" Target="../tags/tag309.xml"/><Relationship Id="rId308" Type="http://schemas.openxmlformats.org/officeDocument/2006/relationships/tags" Target="../tags/tag323.xml"/><Relationship Id="rId515" Type="http://schemas.openxmlformats.org/officeDocument/2006/relationships/tags" Target="../tags/tag530.xml"/><Relationship Id="rId47" Type="http://schemas.openxmlformats.org/officeDocument/2006/relationships/tags" Target="../tags/tag62.xml"/><Relationship Id="rId89" Type="http://schemas.openxmlformats.org/officeDocument/2006/relationships/tags" Target="../tags/tag104.xml"/><Relationship Id="rId112" Type="http://schemas.openxmlformats.org/officeDocument/2006/relationships/tags" Target="../tags/tag127.xml"/><Relationship Id="rId154" Type="http://schemas.openxmlformats.org/officeDocument/2006/relationships/tags" Target="../tags/tag169.xml"/><Relationship Id="rId361" Type="http://schemas.openxmlformats.org/officeDocument/2006/relationships/tags" Target="../tags/tag376.xml"/><Relationship Id="rId557" Type="http://schemas.openxmlformats.org/officeDocument/2006/relationships/tags" Target="../tags/tag572.xml"/><Relationship Id="rId196" Type="http://schemas.openxmlformats.org/officeDocument/2006/relationships/tags" Target="../tags/tag211.xml"/><Relationship Id="rId417" Type="http://schemas.openxmlformats.org/officeDocument/2006/relationships/tags" Target="../tags/tag432.xml"/><Relationship Id="rId459" Type="http://schemas.openxmlformats.org/officeDocument/2006/relationships/tags" Target="../tags/tag474.xml"/><Relationship Id="rId16" Type="http://schemas.openxmlformats.org/officeDocument/2006/relationships/tags" Target="../tags/tag31.xml"/><Relationship Id="rId221" Type="http://schemas.openxmlformats.org/officeDocument/2006/relationships/tags" Target="../tags/tag236.xml"/><Relationship Id="rId263" Type="http://schemas.openxmlformats.org/officeDocument/2006/relationships/tags" Target="../tags/tag278.xml"/><Relationship Id="rId319" Type="http://schemas.openxmlformats.org/officeDocument/2006/relationships/tags" Target="../tags/tag334.xml"/><Relationship Id="rId470" Type="http://schemas.openxmlformats.org/officeDocument/2006/relationships/tags" Target="../tags/tag485.xml"/><Relationship Id="rId526" Type="http://schemas.openxmlformats.org/officeDocument/2006/relationships/tags" Target="../tags/tag541.xml"/><Relationship Id="rId37" Type="http://schemas.openxmlformats.org/officeDocument/2006/relationships/tags" Target="../tags/tag52.xml"/><Relationship Id="rId58" Type="http://schemas.openxmlformats.org/officeDocument/2006/relationships/tags" Target="../tags/tag73.xml"/><Relationship Id="rId79" Type="http://schemas.openxmlformats.org/officeDocument/2006/relationships/tags" Target="../tags/tag94.xml"/><Relationship Id="rId102" Type="http://schemas.openxmlformats.org/officeDocument/2006/relationships/tags" Target="../tags/tag117.xml"/><Relationship Id="rId123" Type="http://schemas.openxmlformats.org/officeDocument/2006/relationships/tags" Target="../tags/tag138.xml"/><Relationship Id="rId144" Type="http://schemas.openxmlformats.org/officeDocument/2006/relationships/tags" Target="../tags/tag159.xml"/><Relationship Id="rId330" Type="http://schemas.openxmlformats.org/officeDocument/2006/relationships/tags" Target="../tags/tag345.xml"/><Relationship Id="rId547" Type="http://schemas.openxmlformats.org/officeDocument/2006/relationships/tags" Target="../tags/tag562.xml"/><Relationship Id="rId568" Type="http://schemas.openxmlformats.org/officeDocument/2006/relationships/tags" Target="../tags/tag583.xml"/><Relationship Id="rId589" Type="http://schemas.openxmlformats.org/officeDocument/2006/relationships/image" Target="../media/image19.png"/><Relationship Id="rId90" Type="http://schemas.openxmlformats.org/officeDocument/2006/relationships/tags" Target="../tags/tag105.xml"/><Relationship Id="rId165" Type="http://schemas.openxmlformats.org/officeDocument/2006/relationships/tags" Target="../tags/tag180.xml"/><Relationship Id="rId186" Type="http://schemas.openxmlformats.org/officeDocument/2006/relationships/tags" Target="../tags/tag201.xml"/><Relationship Id="rId351" Type="http://schemas.openxmlformats.org/officeDocument/2006/relationships/tags" Target="../tags/tag366.xml"/><Relationship Id="rId372" Type="http://schemas.openxmlformats.org/officeDocument/2006/relationships/tags" Target="../tags/tag387.xml"/><Relationship Id="rId393" Type="http://schemas.openxmlformats.org/officeDocument/2006/relationships/tags" Target="../tags/tag408.xml"/><Relationship Id="rId407" Type="http://schemas.openxmlformats.org/officeDocument/2006/relationships/tags" Target="../tags/tag422.xml"/><Relationship Id="rId428" Type="http://schemas.openxmlformats.org/officeDocument/2006/relationships/tags" Target="../tags/tag443.xml"/><Relationship Id="rId449" Type="http://schemas.openxmlformats.org/officeDocument/2006/relationships/tags" Target="../tags/tag464.xml"/><Relationship Id="rId211" Type="http://schemas.openxmlformats.org/officeDocument/2006/relationships/tags" Target="../tags/tag226.xml"/><Relationship Id="rId232" Type="http://schemas.openxmlformats.org/officeDocument/2006/relationships/tags" Target="../tags/tag247.xml"/><Relationship Id="rId253" Type="http://schemas.openxmlformats.org/officeDocument/2006/relationships/tags" Target="../tags/tag268.xml"/><Relationship Id="rId274" Type="http://schemas.openxmlformats.org/officeDocument/2006/relationships/tags" Target="../tags/tag289.xml"/><Relationship Id="rId295" Type="http://schemas.openxmlformats.org/officeDocument/2006/relationships/tags" Target="../tags/tag310.xml"/><Relationship Id="rId309" Type="http://schemas.openxmlformats.org/officeDocument/2006/relationships/tags" Target="../tags/tag324.xml"/><Relationship Id="rId460" Type="http://schemas.openxmlformats.org/officeDocument/2006/relationships/tags" Target="../tags/tag475.xml"/><Relationship Id="rId481" Type="http://schemas.openxmlformats.org/officeDocument/2006/relationships/tags" Target="../tags/tag496.xml"/><Relationship Id="rId516" Type="http://schemas.openxmlformats.org/officeDocument/2006/relationships/tags" Target="../tags/tag531.xml"/><Relationship Id="rId27" Type="http://schemas.openxmlformats.org/officeDocument/2006/relationships/tags" Target="../tags/tag42.xml"/><Relationship Id="rId48" Type="http://schemas.openxmlformats.org/officeDocument/2006/relationships/tags" Target="../tags/tag63.xml"/><Relationship Id="rId69" Type="http://schemas.openxmlformats.org/officeDocument/2006/relationships/tags" Target="../tags/tag84.xml"/><Relationship Id="rId113" Type="http://schemas.openxmlformats.org/officeDocument/2006/relationships/tags" Target="../tags/tag128.xml"/><Relationship Id="rId134" Type="http://schemas.openxmlformats.org/officeDocument/2006/relationships/tags" Target="../tags/tag149.xml"/><Relationship Id="rId320" Type="http://schemas.openxmlformats.org/officeDocument/2006/relationships/tags" Target="../tags/tag335.xml"/><Relationship Id="rId537" Type="http://schemas.openxmlformats.org/officeDocument/2006/relationships/tags" Target="../tags/tag552.xml"/><Relationship Id="rId558" Type="http://schemas.openxmlformats.org/officeDocument/2006/relationships/tags" Target="../tags/tag573.xml"/><Relationship Id="rId579" Type="http://schemas.openxmlformats.org/officeDocument/2006/relationships/image" Target="../media/image12.wmf"/><Relationship Id="rId80" Type="http://schemas.openxmlformats.org/officeDocument/2006/relationships/tags" Target="../tags/tag95.xml"/><Relationship Id="rId155" Type="http://schemas.openxmlformats.org/officeDocument/2006/relationships/tags" Target="../tags/tag170.xml"/><Relationship Id="rId176" Type="http://schemas.openxmlformats.org/officeDocument/2006/relationships/tags" Target="../tags/tag191.xml"/><Relationship Id="rId197" Type="http://schemas.openxmlformats.org/officeDocument/2006/relationships/tags" Target="../tags/tag212.xml"/><Relationship Id="rId341" Type="http://schemas.openxmlformats.org/officeDocument/2006/relationships/tags" Target="../tags/tag356.xml"/><Relationship Id="rId362" Type="http://schemas.openxmlformats.org/officeDocument/2006/relationships/tags" Target="../tags/tag377.xml"/><Relationship Id="rId383" Type="http://schemas.openxmlformats.org/officeDocument/2006/relationships/tags" Target="../tags/tag398.xml"/><Relationship Id="rId418" Type="http://schemas.openxmlformats.org/officeDocument/2006/relationships/tags" Target="../tags/tag433.xml"/><Relationship Id="rId439" Type="http://schemas.openxmlformats.org/officeDocument/2006/relationships/tags" Target="../tags/tag454.xml"/><Relationship Id="rId590" Type="http://schemas.microsoft.com/office/2007/relationships/hdphoto" Target="../media/hdphoto4.wdp"/><Relationship Id="rId201" Type="http://schemas.openxmlformats.org/officeDocument/2006/relationships/tags" Target="../tags/tag216.xml"/><Relationship Id="rId222" Type="http://schemas.openxmlformats.org/officeDocument/2006/relationships/tags" Target="../tags/tag237.xml"/><Relationship Id="rId243" Type="http://schemas.openxmlformats.org/officeDocument/2006/relationships/tags" Target="../tags/tag258.xml"/><Relationship Id="rId264" Type="http://schemas.openxmlformats.org/officeDocument/2006/relationships/tags" Target="../tags/tag279.xml"/><Relationship Id="rId285" Type="http://schemas.openxmlformats.org/officeDocument/2006/relationships/tags" Target="../tags/tag300.xml"/><Relationship Id="rId450" Type="http://schemas.openxmlformats.org/officeDocument/2006/relationships/tags" Target="../tags/tag465.xml"/><Relationship Id="rId471" Type="http://schemas.openxmlformats.org/officeDocument/2006/relationships/tags" Target="../tags/tag486.xml"/><Relationship Id="rId506" Type="http://schemas.openxmlformats.org/officeDocument/2006/relationships/tags" Target="../tags/tag521.xml"/><Relationship Id="rId17" Type="http://schemas.openxmlformats.org/officeDocument/2006/relationships/tags" Target="../tags/tag32.xml"/><Relationship Id="rId38" Type="http://schemas.openxmlformats.org/officeDocument/2006/relationships/tags" Target="../tags/tag53.xml"/><Relationship Id="rId59" Type="http://schemas.openxmlformats.org/officeDocument/2006/relationships/tags" Target="../tags/tag74.xml"/><Relationship Id="rId103" Type="http://schemas.openxmlformats.org/officeDocument/2006/relationships/tags" Target="../tags/tag118.xml"/><Relationship Id="rId124" Type="http://schemas.openxmlformats.org/officeDocument/2006/relationships/tags" Target="../tags/tag139.xml"/><Relationship Id="rId310" Type="http://schemas.openxmlformats.org/officeDocument/2006/relationships/tags" Target="../tags/tag325.xml"/><Relationship Id="rId492" Type="http://schemas.openxmlformats.org/officeDocument/2006/relationships/tags" Target="../tags/tag507.xml"/><Relationship Id="rId527" Type="http://schemas.openxmlformats.org/officeDocument/2006/relationships/tags" Target="../tags/tag542.xml"/><Relationship Id="rId548" Type="http://schemas.openxmlformats.org/officeDocument/2006/relationships/tags" Target="../tags/tag563.xml"/><Relationship Id="rId569" Type="http://schemas.openxmlformats.org/officeDocument/2006/relationships/tags" Target="../tags/tag584.xml"/><Relationship Id="rId70" Type="http://schemas.openxmlformats.org/officeDocument/2006/relationships/tags" Target="../tags/tag85.xml"/><Relationship Id="rId91" Type="http://schemas.openxmlformats.org/officeDocument/2006/relationships/tags" Target="../tags/tag106.xml"/><Relationship Id="rId145" Type="http://schemas.openxmlformats.org/officeDocument/2006/relationships/tags" Target="../tags/tag160.xml"/><Relationship Id="rId166" Type="http://schemas.openxmlformats.org/officeDocument/2006/relationships/tags" Target="../tags/tag181.xml"/><Relationship Id="rId187" Type="http://schemas.openxmlformats.org/officeDocument/2006/relationships/tags" Target="../tags/tag202.xml"/><Relationship Id="rId331" Type="http://schemas.openxmlformats.org/officeDocument/2006/relationships/tags" Target="../tags/tag346.xml"/><Relationship Id="rId352" Type="http://schemas.openxmlformats.org/officeDocument/2006/relationships/tags" Target="../tags/tag367.xml"/><Relationship Id="rId373" Type="http://schemas.openxmlformats.org/officeDocument/2006/relationships/tags" Target="../tags/tag388.xml"/><Relationship Id="rId394" Type="http://schemas.openxmlformats.org/officeDocument/2006/relationships/tags" Target="../tags/tag409.xml"/><Relationship Id="rId408" Type="http://schemas.openxmlformats.org/officeDocument/2006/relationships/tags" Target="../tags/tag423.xml"/><Relationship Id="rId429" Type="http://schemas.openxmlformats.org/officeDocument/2006/relationships/tags" Target="../tags/tag444.xml"/><Relationship Id="rId580" Type="http://schemas.openxmlformats.org/officeDocument/2006/relationships/image" Target="../media/image13.png"/><Relationship Id="rId1" Type="http://schemas.openxmlformats.org/officeDocument/2006/relationships/vmlDrawing" Target="../drawings/vmlDrawing6.vml"/><Relationship Id="rId212" Type="http://schemas.openxmlformats.org/officeDocument/2006/relationships/tags" Target="../tags/tag227.xml"/><Relationship Id="rId233" Type="http://schemas.openxmlformats.org/officeDocument/2006/relationships/tags" Target="../tags/tag248.xml"/><Relationship Id="rId254" Type="http://schemas.openxmlformats.org/officeDocument/2006/relationships/tags" Target="../tags/tag269.xml"/><Relationship Id="rId440" Type="http://schemas.openxmlformats.org/officeDocument/2006/relationships/tags" Target="../tags/tag455.xml"/><Relationship Id="rId28" Type="http://schemas.openxmlformats.org/officeDocument/2006/relationships/tags" Target="../tags/tag43.xml"/><Relationship Id="rId49" Type="http://schemas.openxmlformats.org/officeDocument/2006/relationships/tags" Target="../tags/tag64.xml"/><Relationship Id="rId114" Type="http://schemas.openxmlformats.org/officeDocument/2006/relationships/tags" Target="../tags/tag129.xml"/><Relationship Id="rId275" Type="http://schemas.openxmlformats.org/officeDocument/2006/relationships/tags" Target="../tags/tag290.xml"/><Relationship Id="rId296" Type="http://schemas.openxmlformats.org/officeDocument/2006/relationships/tags" Target="../tags/tag311.xml"/><Relationship Id="rId300" Type="http://schemas.openxmlformats.org/officeDocument/2006/relationships/tags" Target="../tags/tag315.xml"/><Relationship Id="rId461" Type="http://schemas.openxmlformats.org/officeDocument/2006/relationships/tags" Target="../tags/tag476.xml"/><Relationship Id="rId482" Type="http://schemas.openxmlformats.org/officeDocument/2006/relationships/tags" Target="../tags/tag497.xml"/><Relationship Id="rId517" Type="http://schemas.openxmlformats.org/officeDocument/2006/relationships/tags" Target="../tags/tag532.xml"/><Relationship Id="rId538" Type="http://schemas.openxmlformats.org/officeDocument/2006/relationships/tags" Target="../tags/tag553.xml"/><Relationship Id="rId559" Type="http://schemas.openxmlformats.org/officeDocument/2006/relationships/tags" Target="../tags/tag574.xml"/><Relationship Id="rId60" Type="http://schemas.openxmlformats.org/officeDocument/2006/relationships/tags" Target="../tags/tag75.xml"/><Relationship Id="rId81" Type="http://schemas.openxmlformats.org/officeDocument/2006/relationships/tags" Target="../tags/tag96.xml"/><Relationship Id="rId135" Type="http://schemas.openxmlformats.org/officeDocument/2006/relationships/tags" Target="../tags/tag150.xml"/><Relationship Id="rId156" Type="http://schemas.openxmlformats.org/officeDocument/2006/relationships/tags" Target="../tags/tag171.xml"/><Relationship Id="rId177" Type="http://schemas.openxmlformats.org/officeDocument/2006/relationships/tags" Target="../tags/tag192.xml"/><Relationship Id="rId198" Type="http://schemas.openxmlformats.org/officeDocument/2006/relationships/tags" Target="../tags/tag213.xml"/><Relationship Id="rId321" Type="http://schemas.openxmlformats.org/officeDocument/2006/relationships/tags" Target="../tags/tag336.xml"/><Relationship Id="rId342" Type="http://schemas.openxmlformats.org/officeDocument/2006/relationships/tags" Target="../tags/tag357.xml"/><Relationship Id="rId363" Type="http://schemas.openxmlformats.org/officeDocument/2006/relationships/tags" Target="../tags/tag378.xml"/><Relationship Id="rId384" Type="http://schemas.openxmlformats.org/officeDocument/2006/relationships/tags" Target="../tags/tag399.xml"/><Relationship Id="rId419" Type="http://schemas.openxmlformats.org/officeDocument/2006/relationships/tags" Target="../tags/tag434.xml"/><Relationship Id="rId570" Type="http://schemas.openxmlformats.org/officeDocument/2006/relationships/slideLayout" Target="../slideLayouts/slideLayout15.xml"/><Relationship Id="rId591" Type="http://schemas.openxmlformats.org/officeDocument/2006/relationships/image" Target="../media/image20.wmf"/><Relationship Id="rId202" Type="http://schemas.openxmlformats.org/officeDocument/2006/relationships/tags" Target="../tags/tag217.xml"/><Relationship Id="rId223" Type="http://schemas.openxmlformats.org/officeDocument/2006/relationships/tags" Target="../tags/tag238.xml"/><Relationship Id="rId244" Type="http://schemas.openxmlformats.org/officeDocument/2006/relationships/tags" Target="../tags/tag259.xml"/><Relationship Id="rId430" Type="http://schemas.openxmlformats.org/officeDocument/2006/relationships/tags" Target="../tags/tag445.xml"/><Relationship Id="rId18" Type="http://schemas.openxmlformats.org/officeDocument/2006/relationships/tags" Target="../tags/tag33.xml"/><Relationship Id="rId39" Type="http://schemas.openxmlformats.org/officeDocument/2006/relationships/tags" Target="../tags/tag54.xml"/><Relationship Id="rId265" Type="http://schemas.openxmlformats.org/officeDocument/2006/relationships/tags" Target="../tags/tag280.xml"/><Relationship Id="rId286" Type="http://schemas.openxmlformats.org/officeDocument/2006/relationships/tags" Target="../tags/tag301.xml"/><Relationship Id="rId451" Type="http://schemas.openxmlformats.org/officeDocument/2006/relationships/tags" Target="../tags/tag466.xml"/><Relationship Id="rId472" Type="http://schemas.openxmlformats.org/officeDocument/2006/relationships/tags" Target="../tags/tag487.xml"/><Relationship Id="rId493" Type="http://schemas.openxmlformats.org/officeDocument/2006/relationships/tags" Target="../tags/tag508.xml"/><Relationship Id="rId507" Type="http://schemas.openxmlformats.org/officeDocument/2006/relationships/tags" Target="../tags/tag522.xml"/><Relationship Id="rId528" Type="http://schemas.openxmlformats.org/officeDocument/2006/relationships/tags" Target="../tags/tag543.xml"/><Relationship Id="rId549" Type="http://schemas.openxmlformats.org/officeDocument/2006/relationships/tags" Target="../tags/tag564.xml"/><Relationship Id="rId50" Type="http://schemas.openxmlformats.org/officeDocument/2006/relationships/tags" Target="../tags/tag65.xml"/><Relationship Id="rId104" Type="http://schemas.openxmlformats.org/officeDocument/2006/relationships/tags" Target="../tags/tag119.xml"/><Relationship Id="rId125" Type="http://schemas.openxmlformats.org/officeDocument/2006/relationships/tags" Target="../tags/tag140.xml"/><Relationship Id="rId146" Type="http://schemas.openxmlformats.org/officeDocument/2006/relationships/tags" Target="../tags/tag161.xml"/><Relationship Id="rId167" Type="http://schemas.openxmlformats.org/officeDocument/2006/relationships/tags" Target="../tags/tag182.xml"/><Relationship Id="rId188" Type="http://schemas.openxmlformats.org/officeDocument/2006/relationships/tags" Target="../tags/tag203.xml"/><Relationship Id="rId311" Type="http://schemas.openxmlformats.org/officeDocument/2006/relationships/tags" Target="../tags/tag326.xml"/><Relationship Id="rId332" Type="http://schemas.openxmlformats.org/officeDocument/2006/relationships/tags" Target="../tags/tag347.xml"/><Relationship Id="rId353" Type="http://schemas.openxmlformats.org/officeDocument/2006/relationships/tags" Target="../tags/tag368.xml"/><Relationship Id="rId374" Type="http://schemas.openxmlformats.org/officeDocument/2006/relationships/tags" Target="../tags/tag389.xml"/><Relationship Id="rId395" Type="http://schemas.openxmlformats.org/officeDocument/2006/relationships/tags" Target="../tags/tag410.xml"/><Relationship Id="rId409" Type="http://schemas.openxmlformats.org/officeDocument/2006/relationships/tags" Target="../tags/tag424.xml"/><Relationship Id="rId560" Type="http://schemas.openxmlformats.org/officeDocument/2006/relationships/tags" Target="../tags/tag575.xml"/><Relationship Id="rId581" Type="http://schemas.microsoft.com/office/2007/relationships/hdphoto" Target="../media/hdphoto1.wdp"/><Relationship Id="rId71" Type="http://schemas.openxmlformats.org/officeDocument/2006/relationships/tags" Target="../tags/tag86.xml"/><Relationship Id="rId92" Type="http://schemas.openxmlformats.org/officeDocument/2006/relationships/tags" Target="../tags/tag107.xml"/><Relationship Id="rId213" Type="http://schemas.openxmlformats.org/officeDocument/2006/relationships/tags" Target="../tags/tag228.xml"/><Relationship Id="rId234" Type="http://schemas.openxmlformats.org/officeDocument/2006/relationships/tags" Target="../tags/tag249.xml"/><Relationship Id="rId420" Type="http://schemas.openxmlformats.org/officeDocument/2006/relationships/tags" Target="../tags/tag435.xml"/><Relationship Id="rId2" Type="http://schemas.openxmlformats.org/officeDocument/2006/relationships/tags" Target="../tags/tag17.xml"/><Relationship Id="rId29" Type="http://schemas.openxmlformats.org/officeDocument/2006/relationships/tags" Target="../tags/tag44.xml"/><Relationship Id="rId255" Type="http://schemas.openxmlformats.org/officeDocument/2006/relationships/tags" Target="../tags/tag270.xml"/><Relationship Id="rId276" Type="http://schemas.openxmlformats.org/officeDocument/2006/relationships/tags" Target="../tags/tag291.xml"/><Relationship Id="rId297" Type="http://schemas.openxmlformats.org/officeDocument/2006/relationships/tags" Target="../tags/tag312.xml"/><Relationship Id="rId441" Type="http://schemas.openxmlformats.org/officeDocument/2006/relationships/tags" Target="../tags/tag456.xml"/><Relationship Id="rId462" Type="http://schemas.openxmlformats.org/officeDocument/2006/relationships/tags" Target="../tags/tag477.xml"/><Relationship Id="rId483" Type="http://schemas.openxmlformats.org/officeDocument/2006/relationships/tags" Target="../tags/tag498.xml"/><Relationship Id="rId518" Type="http://schemas.openxmlformats.org/officeDocument/2006/relationships/tags" Target="../tags/tag533.xml"/><Relationship Id="rId539" Type="http://schemas.openxmlformats.org/officeDocument/2006/relationships/tags" Target="../tags/tag554.xml"/><Relationship Id="rId40" Type="http://schemas.openxmlformats.org/officeDocument/2006/relationships/tags" Target="../tags/tag55.xml"/><Relationship Id="rId115" Type="http://schemas.openxmlformats.org/officeDocument/2006/relationships/tags" Target="../tags/tag130.xml"/><Relationship Id="rId136" Type="http://schemas.openxmlformats.org/officeDocument/2006/relationships/tags" Target="../tags/tag151.xml"/><Relationship Id="rId157" Type="http://schemas.openxmlformats.org/officeDocument/2006/relationships/tags" Target="../tags/tag172.xml"/><Relationship Id="rId178" Type="http://schemas.openxmlformats.org/officeDocument/2006/relationships/tags" Target="../tags/tag193.xml"/><Relationship Id="rId301" Type="http://schemas.openxmlformats.org/officeDocument/2006/relationships/tags" Target="../tags/tag316.xml"/><Relationship Id="rId322" Type="http://schemas.openxmlformats.org/officeDocument/2006/relationships/tags" Target="../tags/tag337.xml"/><Relationship Id="rId343" Type="http://schemas.openxmlformats.org/officeDocument/2006/relationships/tags" Target="../tags/tag358.xml"/><Relationship Id="rId364" Type="http://schemas.openxmlformats.org/officeDocument/2006/relationships/tags" Target="../tags/tag379.xml"/><Relationship Id="rId550" Type="http://schemas.openxmlformats.org/officeDocument/2006/relationships/tags" Target="../tags/tag565.xml"/><Relationship Id="rId61" Type="http://schemas.openxmlformats.org/officeDocument/2006/relationships/tags" Target="../tags/tag76.xml"/><Relationship Id="rId82" Type="http://schemas.openxmlformats.org/officeDocument/2006/relationships/tags" Target="../tags/tag97.xml"/><Relationship Id="rId199" Type="http://schemas.openxmlformats.org/officeDocument/2006/relationships/tags" Target="../tags/tag214.xml"/><Relationship Id="rId203" Type="http://schemas.openxmlformats.org/officeDocument/2006/relationships/tags" Target="../tags/tag218.xml"/><Relationship Id="rId385" Type="http://schemas.openxmlformats.org/officeDocument/2006/relationships/tags" Target="../tags/tag400.xml"/><Relationship Id="rId571" Type="http://schemas.openxmlformats.org/officeDocument/2006/relationships/oleObject" Target="../embeddings/oleObject6.bin"/><Relationship Id="rId592" Type="http://schemas.openxmlformats.org/officeDocument/2006/relationships/image" Target="../media/image21.wmf"/><Relationship Id="rId19" Type="http://schemas.openxmlformats.org/officeDocument/2006/relationships/tags" Target="../tags/tag34.xml"/><Relationship Id="rId224" Type="http://schemas.openxmlformats.org/officeDocument/2006/relationships/tags" Target="../tags/tag239.xml"/><Relationship Id="rId245" Type="http://schemas.openxmlformats.org/officeDocument/2006/relationships/tags" Target="../tags/tag260.xml"/><Relationship Id="rId266" Type="http://schemas.openxmlformats.org/officeDocument/2006/relationships/tags" Target="../tags/tag281.xml"/><Relationship Id="rId287" Type="http://schemas.openxmlformats.org/officeDocument/2006/relationships/tags" Target="../tags/tag302.xml"/><Relationship Id="rId410" Type="http://schemas.openxmlformats.org/officeDocument/2006/relationships/tags" Target="../tags/tag425.xml"/><Relationship Id="rId431" Type="http://schemas.openxmlformats.org/officeDocument/2006/relationships/tags" Target="../tags/tag446.xml"/><Relationship Id="rId452" Type="http://schemas.openxmlformats.org/officeDocument/2006/relationships/tags" Target="../tags/tag467.xml"/><Relationship Id="rId473" Type="http://schemas.openxmlformats.org/officeDocument/2006/relationships/tags" Target="../tags/tag488.xml"/><Relationship Id="rId494" Type="http://schemas.openxmlformats.org/officeDocument/2006/relationships/tags" Target="../tags/tag509.xml"/><Relationship Id="rId508" Type="http://schemas.openxmlformats.org/officeDocument/2006/relationships/tags" Target="../tags/tag523.xml"/><Relationship Id="rId529" Type="http://schemas.openxmlformats.org/officeDocument/2006/relationships/tags" Target="../tags/tag544.xml"/><Relationship Id="rId30" Type="http://schemas.openxmlformats.org/officeDocument/2006/relationships/tags" Target="../tags/tag45.xml"/><Relationship Id="rId105" Type="http://schemas.openxmlformats.org/officeDocument/2006/relationships/tags" Target="../tags/tag120.xml"/><Relationship Id="rId126" Type="http://schemas.openxmlformats.org/officeDocument/2006/relationships/tags" Target="../tags/tag141.xml"/><Relationship Id="rId147" Type="http://schemas.openxmlformats.org/officeDocument/2006/relationships/tags" Target="../tags/tag162.xml"/><Relationship Id="rId168" Type="http://schemas.openxmlformats.org/officeDocument/2006/relationships/tags" Target="../tags/tag183.xml"/><Relationship Id="rId312" Type="http://schemas.openxmlformats.org/officeDocument/2006/relationships/tags" Target="../tags/tag327.xml"/><Relationship Id="rId333" Type="http://schemas.openxmlformats.org/officeDocument/2006/relationships/tags" Target="../tags/tag348.xml"/><Relationship Id="rId354" Type="http://schemas.openxmlformats.org/officeDocument/2006/relationships/tags" Target="../tags/tag369.xml"/><Relationship Id="rId540" Type="http://schemas.openxmlformats.org/officeDocument/2006/relationships/tags" Target="../tags/tag555.xml"/><Relationship Id="rId51" Type="http://schemas.openxmlformats.org/officeDocument/2006/relationships/tags" Target="../tags/tag66.xml"/><Relationship Id="rId72" Type="http://schemas.openxmlformats.org/officeDocument/2006/relationships/tags" Target="../tags/tag87.xml"/><Relationship Id="rId93" Type="http://schemas.openxmlformats.org/officeDocument/2006/relationships/tags" Target="../tags/tag108.xml"/><Relationship Id="rId189" Type="http://schemas.openxmlformats.org/officeDocument/2006/relationships/tags" Target="../tags/tag204.xml"/><Relationship Id="rId375" Type="http://schemas.openxmlformats.org/officeDocument/2006/relationships/tags" Target="../tags/tag390.xml"/><Relationship Id="rId396" Type="http://schemas.openxmlformats.org/officeDocument/2006/relationships/tags" Target="../tags/tag411.xml"/><Relationship Id="rId561" Type="http://schemas.openxmlformats.org/officeDocument/2006/relationships/tags" Target="../tags/tag576.xml"/><Relationship Id="rId582" Type="http://schemas.openxmlformats.org/officeDocument/2006/relationships/image" Target="../media/image14.png"/><Relationship Id="rId3" Type="http://schemas.openxmlformats.org/officeDocument/2006/relationships/tags" Target="../tags/tag18.xml"/><Relationship Id="rId214" Type="http://schemas.openxmlformats.org/officeDocument/2006/relationships/tags" Target="../tags/tag229.xml"/><Relationship Id="rId235" Type="http://schemas.openxmlformats.org/officeDocument/2006/relationships/tags" Target="../tags/tag250.xml"/><Relationship Id="rId256" Type="http://schemas.openxmlformats.org/officeDocument/2006/relationships/tags" Target="../tags/tag271.xml"/><Relationship Id="rId277" Type="http://schemas.openxmlformats.org/officeDocument/2006/relationships/tags" Target="../tags/tag292.xml"/><Relationship Id="rId298" Type="http://schemas.openxmlformats.org/officeDocument/2006/relationships/tags" Target="../tags/tag313.xml"/><Relationship Id="rId400" Type="http://schemas.openxmlformats.org/officeDocument/2006/relationships/tags" Target="../tags/tag415.xml"/><Relationship Id="rId421" Type="http://schemas.openxmlformats.org/officeDocument/2006/relationships/tags" Target="../tags/tag436.xml"/><Relationship Id="rId442" Type="http://schemas.openxmlformats.org/officeDocument/2006/relationships/tags" Target="../tags/tag457.xml"/><Relationship Id="rId463" Type="http://schemas.openxmlformats.org/officeDocument/2006/relationships/tags" Target="../tags/tag478.xml"/><Relationship Id="rId484" Type="http://schemas.openxmlformats.org/officeDocument/2006/relationships/tags" Target="../tags/tag499.xml"/><Relationship Id="rId519" Type="http://schemas.openxmlformats.org/officeDocument/2006/relationships/tags" Target="../tags/tag534.xml"/><Relationship Id="rId116" Type="http://schemas.openxmlformats.org/officeDocument/2006/relationships/tags" Target="../tags/tag131.xml"/><Relationship Id="rId137" Type="http://schemas.openxmlformats.org/officeDocument/2006/relationships/tags" Target="../tags/tag152.xml"/><Relationship Id="rId158" Type="http://schemas.openxmlformats.org/officeDocument/2006/relationships/tags" Target="../tags/tag173.xml"/><Relationship Id="rId302" Type="http://schemas.openxmlformats.org/officeDocument/2006/relationships/tags" Target="../tags/tag317.xml"/><Relationship Id="rId323" Type="http://schemas.openxmlformats.org/officeDocument/2006/relationships/tags" Target="../tags/tag338.xml"/><Relationship Id="rId344" Type="http://schemas.openxmlformats.org/officeDocument/2006/relationships/tags" Target="../tags/tag359.xml"/><Relationship Id="rId530" Type="http://schemas.openxmlformats.org/officeDocument/2006/relationships/tags" Target="../tags/tag545.xml"/><Relationship Id="rId20" Type="http://schemas.openxmlformats.org/officeDocument/2006/relationships/tags" Target="../tags/tag35.xml"/><Relationship Id="rId41" Type="http://schemas.openxmlformats.org/officeDocument/2006/relationships/tags" Target="../tags/tag56.xml"/><Relationship Id="rId62" Type="http://schemas.openxmlformats.org/officeDocument/2006/relationships/tags" Target="../tags/tag77.xml"/><Relationship Id="rId83" Type="http://schemas.openxmlformats.org/officeDocument/2006/relationships/tags" Target="../tags/tag98.xml"/><Relationship Id="rId179" Type="http://schemas.openxmlformats.org/officeDocument/2006/relationships/tags" Target="../tags/tag194.xml"/><Relationship Id="rId365" Type="http://schemas.openxmlformats.org/officeDocument/2006/relationships/tags" Target="../tags/tag380.xml"/><Relationship Id="rId386" Type="http://schemas.openxmlformats.org/officeDocument/2006/relationships/tags" Target="../tags/tag401.xml"/><Relationship Id="rId551" Type="http://schemas.openxmlformats.org/officeDocument/2006/relationships/tags" Target="../tags/tag566.xml"/><Relationship Id="rId572" Type="http://schemas.openxmlformats.org/officeDocument/2006/relationships/image" Target="../media/image5.emf"/><Relationship Id="rId593" Type="http://schemas.openxmlformats.org/officeDocument/2006/relationships/image" Target="../media/image22.png"/><Relationship Id="rId190" Type="http://schemas.openxmlformats.org/officeDocument/2006/relationships/tags" Target="../tags/tag205.xml"/><Relationship Id="rId204" Type="http://schemas.openxmlformats.org/officeDocument/2006/relationships/tags" Target="../tags/tag219.xml"/><Relationship Id="rId225" Type="http://schemas.openxmlformats.org/officeDocument/2006/relationships/tags" Target="../tags/tag240.xml"/><Relationship Id="rId246" Type="http://schemas.openxmlformats.org/officeDocument/2006/relationships/tags" Target="../tags/tag261.xml"/><Relationship Id="rId267" Type="http://schemas.openxmlformats.org/officeDocument/2006/relationships/tags" Target="../tags/tag282.xml"/><Relationship Id="rId288" Type="http://schemas.openxmlformats.org/officeDocument/2006/relationships/tags" Target="../tags/tag303.xml"/><Relationship Id="rId411" Type="http://schemas.openxmlformats.org/officeDocument/2006/relationships/tags" Target="../tags/tag426.xml"/><Relationship Id="rId432" Type="http://schemas.openxmlformats.org/officeDocument/2006/relationships/tags" Target="../tags/tag447.xml"/><Relationship Id="rId453" Type="http://schemas.openxmlformats.org/officeDocument/2006/relationships/tags" Target="../tags/tag468.xml"/><Relationship Id="rId474" Type="http://schemas.openxmlformats.org/officeDocument/2006/relationships/tags" Target="../tags/tag489.xml"/><Relationship Id="rId509" Type="http://schemas.openxmlformats.org/officeDocument/2006/relationships/tags" Target="../tags/tag524.xml"/><Relationship Id="rId106" Type="http://schemas.openxmlformats.org/officeDocument/2006/relationships/tags" Target="../tags/tag121.xml"/><Relationship Id="rId127" Type="http://schemas.openxmlformats.org/officeDocument/2006/relationships/tags" Target="../tags/tag142.xml"/><Relationship Id="rId313" Type="http://schemas.openxmlformats.org/officeDocument/2006/relationships/tags" Target="../tags/tag328.xml"/><Relationship Id="rId495" Type="http://schemas.openxmlformats.org/officeDocument/2006/relationships/tags" Target="../tags/tag510.xml"/><Relationship Id="rId10" Type="http://schemas.openxmlformats.org/officeDocument/2006/relationships/tags" Target="../tags/tag25.xml"/><Relationship Id="rId31" Type="http://schemas.openxmlformats.org/officeDocument/2006/relationships/tags" Target="../tags/tag46.xml"/><Relationship Id="rId52" Type="http://schemas.openxmlformats.org/officeDocument/2006/relationships/tags" Target="../tags/tag67.xml"/><Relationship Id="rId73" Type="http://schemas.openxmlformats.org/officeDocument/2006/relationships/tags" Target="../tags/tag88.xml"/><Relationship Id="rId94" Type="http://schemas.openxmlformats.org/officeDocument/2006/relationships/tags" Target="../tags/tag109.xml"/><Relationship Id="rId148" Type="http://schemas.openxmlformats.org/officeDocument/2006/relationships/tags" Target="../tags/tag163.xml"/><Relationship Id="rId169" Type="http://schemas.openxmlformats.org/officeDocument/2006/relationships/tags" Target="../tags/tag184.xml"/><Relationship Id="rId334" Type="http://schemas.openxmlformats.org/officeDocument/2006/relationships/tags" Target="../tags/tag349.xml"/><Relationship Id="rId355" Type="http://schemas.openxmlformats.org/officeDocument/2006/relationships/tags" Target="../tags/tag370.xml"/><Relationship Id="rId376" Type="http://schemas.openxmlformats.org/officeDocument/2006/relationships/tags" Target="../tags/tag391.xml"/><Relationship Id="rId397" Type="http://schemas.openxmlformats.org/officeDocument/2006/relationships/tags" Target="../tags/tag412.xml"/><Relationship Id="rId520" Type="http://schemas.openxmlformats.org/officeDocument/2006/relationships/tags" Target="../tags/tag535.xml"/><Relationship Id="rId541" Type="http://schemas.openxmlformats.org/officeDocument/2006/relationships/tags" Target="../tags/tag556.xml"/><Relationship Id="rId562" Type="http://schemas.openxmlformats.org/officeDocument/2006/relationships/tags" Target="../tags/tag577.xml"/><Relationship Id="rId583" Type="http://schemas.microsoft.com/office/2007/relationships/hdphoto" Target="../media/hdphoto2.wdp"/><Relationship Id="rId4" Type="http://schemas.openxmlformats.org/officeDocument/2006/relationships/tags" Target="../tags/tag19.xml"/><Relationship Id="rId180" Type="http://schemas.openxmlformats.org/officeDocument/2006/relationships/tags" Target="../tags/tag195.xml"/><Relationship Id="rId215" Type="http://schemas.openxmlformats.org/officeDocument/2006/relationships/tags" Target="../tags/tag230.xml"/><Relationship Id="rId236" Type="http://schemas.openxmlformats.org/officeDocument/2006/relationships/tags" Target="../tags/tag251.xml"/><Relationship Id="rId257" Type="http://schemas.openxmlformats.org/officeDocument/2006/relationships/tags" Target="../tags/tag272.xml"/><Relationship Id="rId278" Type="http://schemas.openxmlformats.org/officeDocument/2006/relationships/tags" Target="../tags/tag293.xml"/><Relationship Id="rId401" Type="http://schemas.openxmlformats.org/officeDocument/2006/relationships/tags" Target="../tags/tag416.xml"/><Relationship Id="rId422" Type="http://schemas.openxmlformats.org/officeDocument/2006/relationships/tags" Target="../tags/tag437.xml"/><Relationship Id="rId443" Type="http://schemas.openxmlformats.org/officeDocument/2006/relationships/tags" Target="../tags/tag458.xml"/><Relationship Id="rId464" Type="http://schemas.openxmlformats.org/officeDocument/2006/relationships/tags" Target="../tags/tag479.xml"/><Relationship Id="rId303" Type="http://schemas.openxmlformats.org/officeDocument/2006/relationships/tags" Target="../tags/tag318.xml"/><Relationship Id="rId485" Type="http://schemas.openxmlformats.org/officeDocument/2006/relationships/tags" Target="../tags/tag500.xml"/><Relationship Id="rId42" Type="http://schemas.openxmlformats.org/officeDocument/2006/relationships/tags" Target="../tags/tag57.xml"/><Relationship Id="rId84" Type="http://schemas.openxmlformats.org/officeDocument/2006/relationships/tags" Target="../tags/tag99.xml"/><Relationship Id="rId138" Type="http://schemas.openxmlformats.org/officeDocument/2006/relationships/tags" Target="../tags/tag153.xml"/><Relationship Id="rId345" Type="http://schemas.openxmlformats.org/officeDocument/2006/relationships/tags" Target="../tags/tag360.xml"/><Relationship Id="rId387" Type="http://schemas.openxmlformats.org/officeDocument/2006/relationships/tags" Target="../tags/tag402.xml"/><Relationship Id="rId510" Type="http://schemas.openxmlformats.org/officeDocument/2006/relationships/tags" Target="../tags/tag525.xml"/><Relationship Id="rId552" Type="http://schemas.openxmlformats.org/officeDocument/2006/relationships/tags" Target="../tags/tag567.xml"/><Relationship Id="rId594" Type="http://schemas.microsoft.com/office/2007/relationships/hdphoto" Target="../media/hdphoto5.wdp"/><Relationship Id="rId191" Type="http://schemas.openxmlformats.org/officeDocument/2006/relationships/tags" Target="../tags/tag206.xml"/><Relationship Id="rId205" Type="http://schemas.openxmlformats.org/officeDocument/2006/relationships/tags" Target="../tags/tag220.xml"/><Relationship Id="rId247" Type="http://schemas.openxmlformats.org/officeDocument/2006/relationships/tags" Target="../tags/tag262.xml"/><Relationship Id="rId412" Type="http://schemas.openxmlformats.org/officeDocument/2006/relationships/tags" Target="../tags/tag427.xml"/><Relationship Id="rId107" Type="http://schemas.openxmlformats.org/officeDocument/2006/relationships/tags" Target="../tags/tag122.xml"/><Relationship Id="rId289" Type="http://schemas.openxmlformats.org/officeDocument/2006/relationships/tags" Target="../tags/tag304.xml"/><Relationship Id="rId454" Type="http://schemas.openxmlformats.org/officeDocument/2006/relationships/tags" Target="../tags/tag469.xml"/><Relationship Id="rId496" Type="http://schemas.openxmlformats.org/officeDocument/2006/relationships/tags" Target="../tags/tag511.xml"/><Relationship Id="rId11" Type="http://schemas.openxmlformats.org/officeDocument/2006/relationships/tags" Target="../tags/tag26.xml"/><Relationship Id="rId53" Type="http://schemas.openxmlformats.org/officeDocument/2006/relationships/tags" Target="../tags/tag68.xml"/><Relationship Id="rId149" Type="http://schemas.openxmlformats.org/officeDocument/2006/relationships/tags" Target="../tags/tag164.xml"/><Relationship Id="rId314" Type="http://schemas.openxmlformats.org/officeDocument/2006/relationships/tags" Target="../tags/tag329.xml"/><Relationship Id="rId356" Type="http://schemas.openxmlformats.org/officeDocument/2006/relationships/tags" Target="../tags/tag371.xml"/><Relationship Id="rId398" Type="http://schemas.openxmlformats.org/officeDocument/2006/relationships/tags" Target="../tags/tag413.xml"/><Relationship Id="rId521" Type="http://schemas.openxmlformats.org/officeDocument/2006/relationships/tags" Target="../tags/tag536.xml"/><Relationship Id="rId563" Type="http://schemas.openxmlformats.org/officeDocument/2006/relationships/tags" Target="../tags/tag578.xml"/><Relationship Id="rId95" Type="http://schemas.openxmlformats.org/officeDocument/2006/relationships/tags" Target="../tags/tag110.xml"/><Relationship Id="rId160" Type="http://schemas.openxmlformats.org/officeDocument/2006/relationships/tags" Target="../tags/tag175.xml"/><Relationship Id="rId216" Type="http://schemas.openxmlformats.org/officeDocument/2006/relationships/tags" Target="../tags/tag231.xml"/><Relationship Id="rId423" Type="http://schemas.openxmlformats.org/officeDocument/2006/relationships/tags" Target="../tags/tag438.xml"/><Relationship Id="rId258" Type="http://schemas.openxmlformats.org/officeDocument/2006/relationships/tags" Target="../tags/tag273.xml"/><Relationship Id="rId465" Type="http://schemas.openxmlformats.org/officeDocument/2006/relationships/tags" Target="../tags/tag480.xml"/><Relationship Id="rId22" Type="http://schemas.openxmlformats.org/officeDocument/2006/relationships/tags" Target="../tags/tag37.xml"/><Relationship Id="rId64" Type="http://schemas.openxmlformats.org/officeDocument/2006/relationships/tags" Target="../tags/tag79.xml"/><Relationship Id="rId118" Type="http://schemas.openxmlformats.org/officeDocument/2006/relationships/tags" Target="../tags/tag133.xml"/><Relationship Id="rId325" Type="http://schemas.openxmlformats.org/officeDocument/2006/relationships/tags" Target="../tags/tag340.xml"/><Relationship Id="rId367" Type="http://schemas.openxmlformats.org/officeDocument/2006/relationships/tags" Target="../tags/tag382.xml"/><Relationship Id="rId532" Type="http://schemas.openxmlformats.org/officeDocument/2006/relationships/tags" Target="../tags/tag547.xml"/><Relationship Id="rId574" Type="http://schemas.openxmlformats.org/officeDocument/2006/relationships/image" Target="../media/image7.emf"/><Relationship Id="rId171" Type="http://schemas.openxmlformats.org/officeDocument/2006/relationships/tags" Target="../tags/tag186.xml"/><Relationship Id="rId227" Type="http://schemas.openxmlformats.org/officeDocument/2006/relationships/tags" Target="../tags/tag242.xml"/><Relationship Id="rId269" Type="http://schemas.openxmlformats.org/officeDocument/2006/relationships/tags" Target="../tags/tag284.xml"/><Relationship Id="rId434" Type="http://schemas.openxmlformats.org/officeDocument/2006/relationships/tags" Target="../tags/tag449.xml"/><Relationship Id="rId476" Type="http://schemas.openxmlformats.org/officeDocument/2006/relationships/tags" Target="../tags/tag491.xml"/><Relationship Id="rId33" Type="http://schemas.openxmlformats.org/officeDocument/2006/relationships/tags" Target="../tags/tag48.xml"/><Relationship Id="rId129" Type="http://schemas.openxmlformats.org/officeDocument/2006/relationships/tags" Target="../tags/tag144.xml"/><Relationship Id="rId280" Type="http://schemas.openxmlformats.org/officeDocument/2006/relationships/tags" Target="../tags/tag295.xml"/><Relationship Id="rId336" Type="http://schemas.openxmlformats.org/officeDocument/2006/relationships/tags" Target="../tags/tag351.xml"/><Relationship Id="rId501" Type="http://schemas.openxmlformats.org/officeDocument/2006/relationships/tags" Target="../tags/tag516.xml"/><Relationship Id="rId543" Type="http://schemas.openxmlformats.org/officeDocument/2006/relationships/tags" Target="../tags/tag558.xml"/><Relationship Id="rId75" Type="http://schemas.openxmlformats.org/officeDocument/2006/relationships/tags" Target="../tags/tag90.xml"/><Relationship Id="rId140" Type="http://schemas.openxmlformats.org/officeDocument/2006/relationships/tags" Target="../tags/tag155.xml"/><Relationship Id="rId182" Type="http://schemas.openxmlformats.org/officeDocument/2006/relationships/tags" Target="../tags/tag197.xml"/><Relationship Id="rId378" Type="http://schemas.openxmlformats.org/officeDocument/2006/relationships/tags" Target="../tags/tag393.xml"/><Relationship Id="rId403" Type="http://schemas.openxmlformats.org/officeDocument/2006/relationships/tags" Target="../tags/tag418.xml"/><Relationship Id="rId585" Type="http://schemas.openxmlformats.org/officeDocument/2006/relationships/image" Target="../media/image16.png"/><Relationship Id="rId6" Type="http://schemas.openxmlformats.org/officeDocument/2006/relationships/tags" Target="../tags/tag21.xml"/><Relationship Id="rId238" Type="http://schemas.openxmlformats.org/officeDocument/2006/relationships/tags" Target="../tags/tag253.xml"/><Relationship Id="rId445" Type="http://schemas.openxmlformats.org/officeDocument/2006/relationships/tags" Target="../tags/tag460.xml"/><Relationship Id="rId487" Type="http://schemas.openxmlformats.org/officeDocument/2006/relationships/tags" Target="../tags/tag502.xml"/><Relationship Id="rId291" Type="http://schemas.openxmlformats.org/officeDocument/2006/relationships/tags" Target="../tags/tag306.xml"/><Relationship Id="rId305" Type="http://schemas.openxmlformats.org/officeDocument/2006/relationships/tags" Target="../tags/tag320.xml"/><Relationship Id="rId347" Type="http://schemas.openxmlformats.org/officeDocument/2006/relationships/tags" Target="../tags/tag362.xml"/><Relationship Id="rId512" Type="http://schemas.openxmlformats.org/officeDocument/2006/relationships/tags" Target="../tags/tag527.xml"/><Relationship Id="rId44" Type="http://schemas.openxmlformats.org/officeDocument/2006/relationships/tags" Target="../tags/tag59.xml"/><Relationship Id="rId86" Type="http://schemas.openxmlformats.org/officeDocument/2006/relationships/tags" Target="../tags/tag101.xml"/><Relationship Id="rId151" Type="http://schemas.openxmlformats.org/officeDocument/2006/relationships/tags" Target="../tags/tag166.xml"/><Relationship Id="rId389" Type="http://schemas.openxmlformats.org/officeDocument/2006/relationships/tags" Target="../tags/tag404.xml"/><Relationship Id="rId554" Type="http://schemas.openxmlformats.org/officeDocument/2006/relationships/tags" Target="../tags/tag569.xml"/><Relationship Id="rId596" Type="http://schemas.openxmlformats.org/officeDocument/2006/relationships/image" Target="../media/image24.png"/><Relationship Id="rId193" Type="http://schemas.openxmlformats.org/officeDocument/2006/relationships/tags" Target="../tags/tag208.xml"/><Relationship Id="rId207" Type="http://schemas.openxmlformats.org/officeDocument/2006/relationships/tags" Target="../tags/tag222.xml"/><Relationship Id="rId249" Type="http://schemas.openxmlformats.org/officeDocument/2006/relationships/tags" Target="../tags/tag264.xml"/><Relationship Id="rId414" Type="http://schemas.openxmlformats.org/officeDocument/2006/relationships/tags" Target="../tags/tag429.xml"/><Relationship Id="rId456" Type="http://schemas.openxmlformats.org/officeDocument/2006/relationships/tags" Target="../tags/tag471.xml"/><Relationship Id="rId498" Type="http://schemas.openxmlformats.org/officeDocument/2006/relationships/tags" Target="../tags/tag513.xml"/><Relationship Id="rId13" Type="http://schemas.openxmlformats.org/officeDocument/2006/relationships/tags" Target="../tags/tag28.xml"/><Relationship Id="rId109" Type="http://schemas.openxmlformats.org/officeDocument/2006/relationships/tags" Target="../tags/tag124.xml"/><Relationship Id="rId260" Type="http://schemas.openxmlformats.org/officeDocument/2006/relationships/tags" Target="../tags/tag275.xml"/><Relationship Id="rId316" Type="http://schemas.openxmlformats.org/officeDocument/2006/relationships/tags" Target="../tags/tag331.xml"/><Relationship Id="rId523" Type="http://schemas.openxmlformats.org/officeDocument/2006/relationships/tags" Target="../tags/tag538.xml"/><Relationship Id="rId55" Type="http://schemas.openxmlformats.org/officeDocument/2006/relationships/tags" Target="../tags/tag70.xml"/><Relationship Id="rId97" Type="http://schemas.openxmlformats.org/officeDocument/2006/relationships/tags" Target="../tags/tag112.xml"/><Relationship Id="rId120" Type="http://schemas.openxmlformats.org/officeDocument/2006/relationships/tags" Target="../tags/tag135.xml"/><Relationship Id="rId358" Type="http://schemas.openxmlformats.org/officeDocument/2006/relationships/tags" Target="../tags/tag373.xml"/><Relationship Id="rId565" Type="http://schemas.openxmlformats.org/officeDocument/2006/relationships/tags" Target="../tags/tag580.xml"/><Relationship Id="rId162" Type="http://schemas.openxmlformats.org/officeDocument/2006/relationships/tags" Target="../tags/tag177.xml"/><Relationship Id="rId218" Type="http://schemas.openxmlformats.org/officeDocument/2006/relationships/tags" Target="../tags/tag233.xml"/><Relationship Id="rId425" Type="http://schemas.openxmlformats.org/officeDocument/2006/relationships/tags" Target="../tags/tag440.xml"/><Relationship Id="rId467" Type="http://schemas.openxmlformats.org/officeDocument/2006/relationships/tags" Target="../tags/tag482.xml"/><Relationship Id="rId271" Type="http://schemas.openxmlformats.org/officeDocument/2006/relationships/tags" Target="../tags/tag286.xml"/><Relationship Id="rId24" Type="http://schemas.openxmlformats.org/officeDocument/2006/relationships/tags" Target="../tags/tag39.xml"/><Relationship Id="rId66" Type="http://schemas.openxmlformats.org/officeDocument/2006/relationships/tags" Target="../tags/tag81.xml"/><Relationship Id="rId131" Type="http://schemas.openxmlformats.org/officeDocument/2006/relationships/tags" Target="../tags/tag146.xml"/><Relationship Id="rId327" Type="http://schemas.openxmlformats.org/officeDocument/2006/relationships/tags" Target="../tags/tag342.xml"/><Relationship Id="rId369" Type="http://schemas.openxmlformats.org/officeDocument/2006/relationships/tags" Target="../tags/tag384.xml"/><Relationship Id="rId534" Type="http://schemas.openxmlformats.org/officeDocument/2006/relationships/tags" Target="../tags/tag549.xml"/><Relationship Id="rId576" Type="http://schemas.openxmlformats.org/officeDocument/2006/relationships/image" Target="../media/image9.emf"/><Relationship Id="rId173" Type="http://schemas.openxmlformats.org/officeDocument/2006/relationships/tags" Target="../tags/tag188.xml"/><Relationship Id="rId229" Type="http://schemas.openxmlformats.org/officeDocument/2006/relationships/tags" Target="../tags/tag244.xml"/><Relationship Id="rId380" Type="http://schemas.openxmlformats.org/officeDocument/2006/relationships/tags" Target="../tags/tag395.xml"/><Relationship Id="rId436" Type="http://schemas.openxmlformats.org/officeDocument/2006/relationships/tags" Target="../tags/tag451.xml"/><Relationship Id="rId240" Type="http://schemas.openxmlformats.org/officeDocument/2006/relationships/tags" Target="../tags/tag255.xml"/><Relationship Id="rId478" Type="http://schemas.openxmlformats.org/officeDocument/2006/relationships/tags" Target="../tags/tag493.xml"/><Relationship Id="rId35" Type="http://schemas.openxmlformats.org/officeDocument/2006/relationships/tags" Target="../tags/tag50.xml"/><Relationship Id="rId77" Type="http://schemas.openxmlformats.org/officeDocument/2006/relationships/tags" Target="../tags/tag92.xml"/><Relationship Id="rId100" Type="http://schemas.openxmlformats.org/officeDocument/2006/relationships/tags" Target="../tags/tag115.xml"/><Relationship Id="rId282" Type="http://schemas.openxmlformats.org/officeDocument/2006/relationships/tags" Target="../tags/tag297.xml"/><Relationship Id="rId338" Type="http://schemas.openxmlformats.org/officeDocument/2006/relationships/tags" Target="../tags/tag353.xml"/><Relationship Id="rId503" Type="http://schemas.openxmlformats.org/officeDocument/2006/relationships/tags" Target="../tags/tag518.xml"/><Relationship Id="rId545" Type="http://schemas.openxmlformats.org/officeDocument/2006/relationships/tags" Target="../tags/tag560.xml"/><Relationship Id="rId587" Type="http://schemas.openxmlformats.org/officeDocument/2006/relationships/image" Target="../media/image17.wmf"/><Relationship Id="rId8" Type="http://schemas.openxmlformats.org/officeDocument/2006/relationships/tags" Target="../tags/tag23.xml"/><Relationship Id="rId142" Type="http://schemas.openxmlformats.org/officeDocument/2006/relationships/tags" Target="../tags/tag157.xml"/><Relationship Id="rId184" Type="http://schemas.openxmlformats.org/officeDocument/2006/relationships/tags" Target="../tags/tag199.xml"/><Relationship Id="rId391" Type="http://schemas.openxmlformats.org/officeDocument/2006/relationships/tags" Target="../tags/tag406.xml"/><Relationship Id="rId405" Type="http://schemas.openxmlformats.org/officeDocument/2006/relationships/tags" Target="../tags/tag420.xml"/><Relationship Id="rId447" Type="http://schemas.openxmlformats.org/officeDocument/2006/relationships/tags" Target="../tags/tag462.xml"/><Relationship Id="rId251" Type="http://schemas.openxmlformats.org/officeDocument/2006/relationships/tags" Target="../tags/tag266.xml"/><Relationship Id="rId489" Type="http://schemas.openxmlformats.org/officeDocument/2006/relationships/tags" Target="../tags/tag504.xml"/><Relationship Id="rId46" Type="http://schemas.openxmlformats.org/officeDocument/2006/relationships/tags" Target="../tags/tag61.xml"/><Relationship Id="rId293" Type="http://schemas.openxmlformats.org/officeDocument/2006/relationships/tags" Target="../tags/tag308.xml"/><Relationship Id="rId307" Type="http://schemas.openxmlformats.org/officeDocument/2006/relationships/tags" Target="../tags/tag322.xml"/><Relationship Id="rId349" Type="http://schemas.openxmlformats.org/officeDocument/2006/relationships/tags" Target="../tags/tag364.xml"/><Relationship Id="rId514" Type="http://schemas.openxmlformats.org/officeDocument/2006/relationships/tags" Target="../tags/tag529.xml"/><Relationship Id="rId556" Type="http://schemas.openxmlformats.org/officeDocument/2006/relationships/tags" Target="../tags/tag571.xml"/><Relationship Id="rId88" Type="http://schemas.openxmlformats.org/officeDocument/2006/relationships/tags" Target="../tags/tag103.xml"/><Relationship Id="rId111" Type="http://schemas.openxmlformats.org/officeDocument/2006/relationships/tags" Target="../tags/tag126.xml"/><Relationship Id="rId153" Type="http://schemas.openxmlformats.org/officeDocument/2006/relationships/tags" Target="../tags/tag168.xml"/><Relationship Id="rId195" Type="http://schemas.openxmlformats.org/officeDocument/2006/relationships/tags" Target="../tags/tag210.xml"/><Relationship Id="rId209" Type="http://schemas.openxmlformats.org/officeDocument/2006/relationships/tags" Target="../tags/tag224.xml"/><Relationship Id="rId360" Type="http://schemas.openxmlformats.org/officeDocument/2006/relationships/tags" Target="../tags/tag375.xml"/><Relationship Id="rId416" Type="http://schemas.openxmlformats.org/officeDocument/2006/relationships/tags" Target="../tags/tag431.xml"/><Relationship Id="rId598" Type="http://schemas.openxmlformats.org/officeDocument/2006/relationships/image" Target="../media/image25.emf"/><Relationship Id="rId220" Type="http://schemas.openxmlformats.org/officeDocument/2006/relationships/tags" Target="../tags/tag235.xml"/><Relationship Id="rId458" Type="http://schemas.openxmlformats.org/officeDocument/2006/relationships/tags" Target="../tags/tag473.xml"/><Relationship Id="rId15" Type="http://schemas.openxmlformats.org/officeDocument/2006/relationships/tags" Target="../tags/tag30.xml"/><Relationship Id="rId57" Type="http://schemas.openxmlformats.org/officeDocument/2006/relationships/tags" Target="../tags/tag72.xml"/><Relationship Id="rId262" Type="http://schemas.openxmlformats.org/officeDocument/2006/relationships/tags" Target="../tags/tag277.xml"/><Relationship Id="rId318" Type="http://schemas.openxmlformats.org/officeDocument/2006/relationships/tags" Target="../tags/tag333.xml"/><Relationship Id="rId525" Type="http://schemas.openxmlformats.org/officeDocument/2006/relationships/tags" Target="../tags/tag540.xml"/><Relationship Id="rId567" Type="http://schemas.openxmlformats.org/officeDocument/2006/relationships/tags" Target="../tags/tag582.xml"/><Relationship Id="rId99" Type="http://schemas.openxmlformats.org/officeDocument/2006/relationships/tags" Target="../tags/tag114.xml"/><Relationship Id="rId122" Type="http://schemas.openxmlformats.org/officeDocument/2006/relationships/tags" Target="../tags/tag137.xml"/><Relationship Id="rId164" Type="http://schemas.openxmlformats.org/officeDocument/2006/relationships/tags" Target="../tags/tag179.xml"/><Relationship Id="rId371" Type="http://schemas.openxmlformats.org/officeDocument/2006/relationships/tags" Target="../tags/tag386.xml"/><Relationship Id="rId427" Type="http://schemas.openxmlformats.org/officeDocument/2006/relationships/tags" Target="../tags/tag442.xml"/><Relationship Id="rId469" Type="http://schemas.openxmlformats.org/officeDocument/2006/relationships/tags" Target="../tags/tag484.xml"/><Relationship Id="rId26" Type="http://schemas.openxmlformats.org/officeDocument/2006/relationships/tags" Target="../tags/tag41.xml"/><Relationship Id="rId231" Type="http://schemas.openxmlformats.org/officeDocument/2006/relationships/tags" Target="../tags/tag246.xml"/><Relationship Id="rId273" Type="http://schemas.openxmlformats.org/officeDocument/2006/relationships/tags" Target="../tags/tag288.xml"/><Relationship Id="rId329" Type="http://schemas.openxmlformats.org/officeDocument/2006/relationships/tags" Target="../tags/tag344.xml"/><Relationship Id="rId480" Type="http://schemas.openxmlformats.org/officeDocument/2006/relationships/tags" Target="../tags/tag495.xml"/><Relationship Id="rId536" Type="http://schemas.openxmlformats.org/officeDocument/2006/relationships/tags" Target="../tags/tag551.xml"/><Relationship Id="rId68" Type="http://schemas.openxmlformats.org/officeDocument/2006/relationships/tags" Target="../tags/tag83.xml"/><Relationship Id="rId133" Type="http://schemas.openxmlformats.org/officeDocument/2006/relationships/tags" Target="../tags/tag148.xml"/><Relationship Id="rId175" Type="http://schemas.openxmlformats.org/officeDocument/2006/relationships/tags" Target="../tags/tag190.xml"/><Relationship Id="rId340" Type="http://schemas.openxmlformats.org/officeDocument/2006/relationships/tags" Target="../tags/tag355.xml"/><Relationship Id="rId578" Type="http://schemas.openxmlformats.org/officeDocument/2006/relationships/image" Target="../media/image11.wmf"/><Relationship Id="rId200" Type="http://schemas.openxmlformats.org/officeDocument/2006/relationships/tags" Target="../tags/tag215.xml"/><Relationship Id="rId382" Type="http://schemas.openxmlformats.org/officeDocument/2006/relationships/tags" Target="../tags/tag397.xml"/><Relationship Id="rId438" Type="http://schemas.openxmlformats.org/officeDocument/2006/relationships/tags" Target="../tags/tag453.xml"/><Relationship Id="rId242" Type="http://schemas.openxmlformats.org/officeDocument/2006/relationships/tags" Target="../tags/tag257.xml"/><Relationship Id="rId284" Type="http://schemas.openxmlformats.org/officeDocument/2006/relationships/tags" Target="../tags/tag299.xml"/><Relationship Id="rId491" Type="http://schemas.openxmlformats.org/officeDocument/2006/relationships/tags" Target="../tags/tag506.xml"/><Relationship Id="rId505" Type="http://schemas.openxmlformats.org/officeDocument/2006/relationships/tags" Target="../tags/tag5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685800"/>
            <a:ext cx="4495800" cy="2286000"/>
          </a:xfrm>
        </p:spPr>
        <p:txBody>
          <a:bodyPr>
            <a:normAutofit/>
          </a:bodyPr>
          <a:lstStyle/>
          <a:p>
            <a:r>
              <a:rPr lang="en-US" dirty="0" smtClean="0"/>
              <a:t>Orientation to Routine Immunization</a:t>
            </a:r>
            <a:endParaRPr lang="en-US" dirty="0"/>
          </a:p>
        </p:txBody>
      </p:sp>
      <p:sp>
        <p:nvSpPr>
          <p:cNvPr id="3" name="Subtitle 2"/>
          <p:cNvSpPr>
            <a:spLocks noGrp="1"/>
          </p:cNvSpPr>
          <p:nvPr>
            <p:ph type="subTitle" idx="1"/>
          </p:nvPr>
        </p:nvSpPr>
        <p:spPr>
          <a:xfrm>
            <a:off x="381000" y="3581400"/>
            <a:ext cx="4495800" cy="1981200"/>
          </a:xfrm>
        </p:spPr>
        <p:txBody>
          <a:bodyPr/>
          <a:lstStyle/>
          <a:p>
            <a:r>
              <a:rPr lang="en-US" dirty="0" smtClean="0"/>
              <a:t>An overview of routine immunization services</a:t>
            </a:r>
            <a:endParaRPr lang="en-US" dirty="0"/>
          </a:p>
        </p:txBody>
      </p:sp>
      <p:pic>
        <p:nvPicPr>
          <p:cNvPr id="4" name="Picture 4" descr="vacc_clinic11"/>
          <p:cNvPicPr>
            <a:picLocks noChangeAspect="1" noChangeArrowheads="1"/>
          </p:cNvPicPr>
          <p:nvPr/>
        </p:nvPicPr>
        <p:blipFill>
          <a:blip r:embed="rId3" cstate="email"/>
          <a:srcRect/>
          <a:stretch>
            <a:fillRect/>
          </a:stretch>
        </p:blipFill>
        <p:spPr bwMode="auto">
          <a:xfrm>
            <a:off x="5106987" y="1851025"/>
            <a:ext cx="3503613" cy="43211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45741421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HUMAN RESOURCES</a:t>
            </a:r>
            <a:endParaRPr lang="en-US" dirty="0"/>
          </a:p>
        </p:txBody>
      </p:sp>
    </p:spTree>
    <p:extLst>
      <p:ext uri="{BB962C8B-B14F-4D97-AF65-F5344CB8AC3E}">
        <p14:creationId xmlns:p14="http://schemas.microsoft.com/office/powerpoint/2010/main" val="10029046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625075" y="596519"/>
            <a:ext cx="3352799" cy="6858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Ministry of Health </a:t>
            </a:r>
          </a:p>
          <a:p>
            <a:pPr algn="ctr"/>
            <a:r>
              <a:rPr lang="en-US" b="1" dirty="0" smtClean="0">
                <a:solidFill>
                  <a:schemeClr val="tx1"/>
                </a:solidFill>
              </a:rPr>
              <a:t>Immunization Team</a:t>
            </a:r>
            <a:endParaRPr lang="en-US" b="1" dirty="0">
              <a:solidFill>
                <a:schemeClr val="tx1"/>
              </a:solidFill>
            </a:endParaRPr>
          </a:p>
        </p:txBody>
      </p:sp>
      <p:sp>
        <p:nvSpPr>
          <p:cNvPr id="7" name="Rectangle 6"/>
          <p:cNvSpPr/>
          <p:nvPr/>
        </p:nvSpPr>
        <p:spPr>
          <a:xfrm>
            <a:off x="5197079" y="596519"/>
            <a:ext cx="1051321" cy="7076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WHO EPI Team</a:t>
            </a:r>
            <a:endParaRPr lang="en-US" sz="1400" b="1" dirty="0">
              <a:solidFill>
                <a:schemeClr val="tx1"/>
              </a:solidFill>
            </a:endParaRPr>
          </a:p>
        </p:txBody>
      </p:sp>
      <p:sp>
        <p:nvSpPr>
          <p:cNvPr id="8" name="Rectangle 7"/>
          <p:cNvSpPr/>
          <p:nvPr/>
        </p:nvSpPr>
        <p:spPr>
          <a:xfrm>
            <a:off x="6248400" y="596519"/>
            <a:ext cx="1219200" cy="7076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UNICEF Immunization Focal Points</a:t>
            </a:r>
            <a:endParaRPr lang="en-US" sz="1400" b="1" dirty="0">
              <a:solidFill>
                <a:schemeClr val="tx1"/>
              </a:solidFill>
            </a:endParaRPr>
          </a:p>
        </p:txBody>
      </p:sp>
      <p:sp>
        <p:nvSpPr>
          <p:cNvPr id="9" name="Rectangle 8"/>
          <p:cNvSpPr/>
          <p:nvPr/>
        </p:nvSpPr>
        <p:spPr>
          <a:xfrm rot="16200000">
            <a:off x="277284" y="1258509"/>
            <a:ext cx="2009781" cy="685800"/>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tx1"/>
                </a:solidFill>
              </a:rPr>
              <a:t>National Level</a:t>
            </a:r>
            <a:endParaRPr lang="en-US" sz="2000" b="1" dirty="0">
              <a:solidFill>
                <a:schemeClr val="tx1"/>
              </a:solidFill>
            </a:endParaRPr>
          </a:p>
        </p:txBody>
      </p:sp>
      <p:sp>
        <p:nvSpPr>
          <p:cNvPr id="10" name="Rectangle 9"/>
          <p:cNvSpPr/>
          <p:nvPr/>
        </p:nvSpPr>
        <p:spPr>
          <a:xfrm rot="16200000">
            <a:off x="322531" y="3318282"/>
            <a:ext cx="1919288" cy="685800"/>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tx1"/>
                </a:solidFill>
              </a:rPr>
              <a:t>District Level</a:t>
            </a:r>
            <a:endParaRPr lang="en-US" sz="2000" b="1" dirty="0">
              <a:solidFill>
                <a:schemeClr val="tx1"/>
              </a:solidFill>
            </a:endParaRPr>
          </a:p>
        </p:txBody>
      </p:sp>
      <p:sp>
        <p:nvSpPr>
          <p:cNvPr id="11" name="Rectangle 10"/>
          <p:cNvSpPr/>
          <p:nvPr/>
        </p:nvSpPr>
        <p:spPr>
          <a:xfrm rot="16200000">
            <a:off x="291575" y="5346849"/>
            <a:ext cx="1981200" cy="685800"/>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tx1"/>
                </a:solidFill>
              </a:rPr>
              <a:t>Facility Level</a:t>
            </a:r>
            <a:endParaRPr lang="en-US" sz="2000" b="1" dirty="0">
              <a:solidFill>
                <a:schemeClr val="tx1"/>
              </a:solidFill>
            </a:endParaRPr>
          </a:p>
        </p:txBody>
      </p:sp>
      <p:sp>
        <p:nvSpPr>
          <p:cNvPr id="12" name="Rectangle 11"/>
          <p:cNvSpPr/>
          <p:nvPr/>
        </p:nvSpPr>
        <p:spPr>
          <a:xfrm>
            <a:off x="1631178" y="2701538"/>
            <a:ext cx="3352799" cy="6858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District Health Team </a:t>
            </a:r>
          </a:p>
          <a:p>
            <a:pPr algn="ctr"/>
            <a:r>
              <a:rPr lang="en-US" b="1" dirty="0" smtClean="0">
                <a:solidFill>
                  <a:schemeClr val="tx1"/>
                </a:solidFill>
              </a:rPr>
              <a:t>EPI focal point</a:t>
            </a:r>
            <a:endParaRPr lang="en-US" b="1" dirty="0">
              <a:solidFill>
                <a:schemeClr val="tx1"/>
              </a:solidFill>
            </a:endParaRPr>
          </a:p>
        </p:txBody>
      </p:sp>
      <p:sp>
        <p:nvSpPr>
          <p:cNvPr id="13" name="Rectangle 12"/>
          <p:cNvSpPr/>
          <p:nvPr/>
        </p:nvSpPr>
        <p:spPr>
          <a:xfrm>
            <a:off x="1631178" y="4697564"/>
            <a:ext cx="3352799" cy="6858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Facility medical officer-in-charge</a:t>
            </a:r>
            <a:endParaRPr lang="en-US" b="1" dirty="0">
              <a:solidFill>
                <a:schemeClr val="tx1"/>
              </a:solidFill>
            </a:endParaRPr>
          </a:p>
        </p:txBody>
      </p:sp>
      <p:sp>
        <p:nvSpPr>
          <p:cNvPr id="14" name="Rectangle 13"/>
          <p:cNvSpPr/>
          <p:nvPr/>
        </p:nvSpPr>
        <p:spPr>
          <a:xfrm>
            <a:off x="5197081" y="4695116"/>
            <a:ext cx="3167062" cy="6858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Health worker/Vaccinator</a:t>
            </a:r>
            <a:endParaRPr lang="en-US" b="1" dirty="0">
              <a:solidFill>
                <a:schemeClr val="tx1"/>
              </a:solidFill>
            </a:endParaRPr>
          </a:p>
        </p:txBody>
      </p:sp>
      <p:sp>
        <p:nvSpPr>
          <p:cNvPr id="15" name="Rectangle 14"/>
          <p:cNvSpPr/>
          <p:nvPr/>
        </p:nvSpPr>
        <p:spPr>
          <a:xfrm>
            <a:off x="5197080" y="2701538"/>
            <a:ext cx="3167062" cy="6858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District Health Team surveillance focal point</a:t>
            </a:r>
            <a:endParaRPr lang="en-US" b="1" dirty="0">
              <a:solidFill>
                <a:schemeClr val="tx1"/>
              </a:solidFill>
            </a:endParaRPr>
          </a:p>
        </p:txBody>
      </p:sp>
      <p:sp>
        <p:nvSpPr>
          <p:cNvPr id="16" name="Rectangle 15"/>
          <p:cNvSpPr/>
          <p:nvPr/>
        </p:nvSpPr>
        <p:spPr>
          <a:xfrm>
            <a:off x="1615680" y="3426598"/>
            <a:ext cx="3352799" cy="830997"/>
          </a:xfrm>
          <a:prstGeom prst="rect">
            <a:avLst/>
          </a:prstGeom>
        </p:spPr>
        <p:txBody>
          <a:bodyPr wrap="square">
            <a:spAutoFit/>
          </a:bodyPr>
          <a:lstStyle/>
          <a:p>
            <a:pPr marL="285750" indent="-285750">
              <a:buFont typeface="Arial" pitchFamily="34" charset="0"/>
              <a:buChar char="•"/>
            </a:pPr>
            <a:r>
              <a:rPr lang="en-US" sz="1600" b="1" dirty="0" smtClean="0"/>
              <a:t>Oversee reporting process, approves expenses, supervises health workers</a:t>
            </a:r>
          </a:p>
        </p:txBody>
      </p:sp>
      <p:sp>
        <p:nvSpPr>
          <p:cNvPr id="17" name="Rectangle 16"/>
          <p:cNvSpPr/>
          <p:nvPr/>
        </p:nvSpPr>
        <p:spPr>
          <a:xfrm>
            <a:off x="5225656" y="5397991"/>
            <a:ext cx="3765944" cy="1323439"/>
          </a:xfrm>
          <a:prstGeom prst="rect">
            <a:avLst/>
          </a:prstGeom>
        </p:spPr>
        <p:txBody>
          <a:bodyPr wrap="square">
            <a:spAutoFit/>
          </a:bodyPr>
          <a:lstStyle/>
          <a:p>
            <a:pPr marL="285750" indent="-285750">
              <a:buFont typeface="Arial" pitchFamily="34" charset="0"/>
              <a:buChar char="•"/>
            </a:pPr>
            <a:r>
              <a:rPr lang="en-US" sz="1600" b="1" dirty="0" smtClean="0"/>
              <a:t>Provides vaccinations</a:t>
            </a:r>
          </a:p>
          <a:p>
            <a:pPr marL="285750" indent="-285750">
              <a:buFont typeface="Arial" pitchFamily="34" charset="0"/>
              <a:buChar char="•"/>
            </a:pPr>
            <a:r>
              <a:rPr lang="en-US" sz="1600" b="1" dirty="0" smtClean="0"/>
              <a:t>Completes monthly reports, immunization register</a:t>
            </a:r>
          </a:p>
          <a:p>
            <a:pPr marL="285750" indent="-285750">
              <a:buFont typeface="Arial" pitchFamily="34" charset="0"/>
              <a:buChar char="•"/>
            </a:pPr>
            <a:r>
              <a:rPr lang="en-US" sz="1600" b="1" dirty="0" smtClean="0"/>
              <a:t>Tracks performance via monitoring charts, other monitoring tools</a:t>
            </a:r>
          </a:p>
        </p:txBody>
      </p:sp>
      <p:sp>
        <p:nvSpPr>
          <p:cNvPr id="19" name="Rectangle 18"/>
          <p:cNvSpPr/>
          <p:nvPr/>
        </p:nvSpPr>
        <p:spPr>
          <a:xfrm>
            <a:off x="1629886" y="5379624"/>
            <a:ext cx="3581399" cy="830997"/>
          </a:xfrm>
          <a:prstGeom prst="rect">
            <a:avLst/>
          </a:prstGeom>
        </p:spPr>
        <p:txBody>
          <a:bodyPr wrap="square">
            <a:spAutoFit/>
          </a:bodyPr>
          <a:lstStyle/>
          <a:p>
            <a:pPr marL="285750" indent="-285750">
              <a:buFont typeface="Arial" pitchFamily="34" charset="0"/>
              <a:buChar char="•"/>
            </a:pPr>
            <a:r>
              <a:rPr lang="en-US" sz="1600" b="1" dirty="0" smtClean="0"/>
              <a:t>Oversee reporting process, approves expenses, supervises health workers</a:t>
            </a:r>
          </a:p>
          <a:p>
            <a:pPr marL="285750" indent="-285750">
              <a:buFont typeface="Arial" pitchFamily="34" charset="0"/>
              <a:buChar char="•"/>
            </a:pPr>
            <a:r>
              <a:rPr lang="en-US" sz="1600" b="1" dirty="0" smtClean="0"/>
              <a:t>Usually VPD surveillance focal point</a:t>
            </a:r>
          </a:p>
        </p:txBody>
      </p:sp>
      <p:sp>
        <p:nvSpPr>
          <p:cNvPr id="20" name="Rectangle 19"/>
          <p:cNvSpPr/>
          <p:nvPr/>
        </p:nvSpPr>
        <p:spPr>
          <a:xfrm>
            <a:off x="5197080" y="3444498"/>
            <a:ext cx="3565920" cy="830997"/>
          </a:xfrm>
          <a:prstGeom prst="rect">
            <a:avLst/>
          </a:prstGeom>
        </p:spPr>
        <p:txBody>
          <a:bodyPr wrap="square">
            <a:spAutoFit/>
          </a:bodyPr>
          <a:lstStyle/>
          <a:p>
            <a:pPr marL="285750" indent="-285750">
              <a:buFont typeface="Arial" pitchFamily="34" charset="0"/>
              <a:buChar char="•"/>
            </a:pPr>
            <a:r>
              <a:rPr lang="en-US" sz="1600" b="1" dirty="0" smtClean="0"/>
              <a:t>Calculate district surveillance indicators; oversee facility surveillance focal points &amp; system</a:t>
            </a:r>
          </a:p>
        </p:txBody>
      </p:sp>
      <p:sp>
        <p:nvSpPr>
          <p:cNvPr id="21" name="Rectangle 20"/>
          <p:cNvSpPr/>
          <p:nvPr/>
        </p:nvSpPr>
        <p:spPr>
          <a:xfrm>
            <a:off x="5225656" y="1334265"/>
            <a:ext cx="3537344" cy="1077218"/>
          </a:xfrm>
          <a:prstGeom prst="rect">
            <a:avLst/>
          </a:prstGeom>
        </p:spPr>
        <p:txBody>
          <a:bodyPr wrap="square">
            <a:spAutoFit/>
          </a:bodyPr>
          <a:lstStyle/>
          <a:p>
            <a:pPr marL="285750" indent="-285750">
              <a:buFont typeface="Arial" pitchFamily="34" charset="0"/>
              <a:buChar char="•"/>
            </a:pPr>
            <a:r>
              <a:rPr lang="en-US" sz="1600" b="1" dirty="0" smtClean="0"/>
              <a:t>Provide cross-cutting support</a:t>
            </a:r>
          </a:p>
          <a:p>
            <a:pPr marL="285750" indent="-285750">
              <a:buFont typeface="Arial" pitchFamily="34" charset="0"/>
              <a:buChar char="•"/>
            </a:pPr>
            <a:r>
              <a:rPr lang="en-US" sz="1600" b="1" dirty="0" smtClean="0"/>
              <a:t>UNICEF usually procures vaccine</a:t>
            </a:r>
          </a:p>
          <a:p>
            <a:pPr marL="285750" indent="-285750">
              <a:buFont typeface="Arial" pitchFamily="34" charset="0"/>
              <a:buChar char="•"/>
            </a:pPr>
            <a:r>
              <a:rPr lang="en-US" sz="1600" b="1" dirty="0" smtClean="0"/>
              <a:t>May have staff at multiple levels</a:t>
            </a:r>
          </a:p>
          <a:p>
            <a:pPr marL="285750" indent="-285750">
              <a:buFont typeface="Arial" pitchFamily="34" charset="0"/>
              <a:buChar char="•"/>
            </a:pPr>
            <a:endParaRPr lang="en-US" sz="1600" b="1" dirty="0" smtClean="0"/>
          </a:p>
        </p:txBody>
      </p:sp>
      <p:sp>
        <p:nvSpPr>
          <p:cNvPr id="22" name="Title 1"/>
          <p:cNvSpPr>
            <a:spLocks noGrp="1"/>
          </p:cNvSpPr>
          <p:nvPr>
            <p:ph type="title"/>
          </p:nvPr>
        </p:nvSpPr>
        <p:spPr>
          <a:xfrm>
            <a:off x="457200" y="76200"/>
            <a:ext cx="8229600" cy="487362"/>
          </a:xfrm>
        </p:spPr>
        <p:txBody>
          <a:bodyPr>
            <a:normAutofit fontScale="90000"/>
          </a:bodyPr>
          <a:lstStyle/>
          <a:p>
            <a:r>
              <a:rPr lang="en-US" sz="3200" b="1" dirty="0" smtClean="0"/>
              <a:t>Human Resources</a:t>
            </a:r>
            <a:endParaRPr lang="en-US" sz="3200" b="1" dirty="0"/>
          </a:p>
        </p:txBody>
      </p:sp>
      <p:sp>
        <p:nvSpPr>
          <p:cNvPr id="23" name="Rectangle 22"/>
          <p:cNvSpPr/>
          <p:nvPr/>
        </p:nvSpPr>
        <p:spPr>
          <a:xfrm>
            <a:off x="7467600" y="596519"/>
            <a:ext cx="896542" cy="7076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NGOs</a:t>
            </a:r>
            <a:endParaRPr lang="en-US" sz="1400" b="1" dirty="0">
              <a:solidFill>
                <a:schemeClr val="tx1"/>
              </a:solidFill>
            </a:endParaRPr>
          </a:p>
        </p:txBody>
      </p:sp>
      <p:sp>
        <p:nvSpPr>
          <p:cNvPr id="24" name="Rectangle 23"/>
          <p:cNvSpPr/>
          <p:nvPr/>
        </p:nvSpPr>
        <p:spPr>
          <a:xfrm>
            <a:off x="1610300" y="1334265"/>
            <a:ext cx="3358179" cy="830997"/>
          </a:xfrm>
          <a:prstGeom prst="rect">
            <a:avLst/>
          </a:prstGeom>
        </p:spPr>
        <p:txBody>
          <a:bodyPr wrap="square">
            <a:spAutoFit/>
          </a:bodyPr>
          <a:lstStyle/>
          <a:p>
            <a:pPr marL="285750" indent="-285750">
              <a:buFont typeface="Arial" pitchFamily="34" charset="0"/>
              <a:buChar char="•"/>
            </a:pPr>
            <a:r>
              <a:rPr lang="en-US" sz="1600" b="1" dirty="0" smtClean="0"/>
              <a:t>Staff include communication, routine, campaign, surveillance focal points, led by EPI team lead</a:t>
            </a:r>
          </a:p>
        </p:txBody>
      </p:sp>
    </p:spTree>
    <p:extLst>
      <p:ext uri="{BB962C8B-B14F-4D97-AF65-F5344CB8AC3E}">
        <p14:creationId xmlns:p14="http://schemas.microsoft.com/office/powerpoint/2010/main" val="28901947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rtlCol="0">
            <a:normAutofit/>
          </a:bodyPr>
          <a:lstStyle/>
          <a:p>
            <a:pPr fontAlgn="auto">
              <a:spcAft>
                <a:spcPts val="0"/>
              </a:spcAft>
              <a:defRPr/>
            </a:pPr>
            <a:r>
              <a:rPr lang="en-US" dirty="0" smtClean="0"/>
              <a:t>Planning &amp; Management </a:t>
            </a:r>
            <a:endParaRPr lang="en-US" dirty="0"/>
          </a:p>
        </p:txBody>
      </p:sp>
    </p:spTree>
    <p:extLst>
      <p:ext uri="{BB962C8B-B14F-4D97-AF65-F5344CB8AC3E}">
        <p14:creationId xmlns:p14="http://schemas.microsoft.com/office/powerpoint/2010/main" val="509903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Immunization Plans</a:t>
            </a:r>
            <a:endParaRPr lang="en-US" b="1" dirty="0"/>
          </a:p>
        </p:txBody>
      </p:sp>
      <p:sp>
        <p:nvSpPr>
          <p:cNvPr id="17" name="Content Placeholder 2"/>
          <p:cNvSpPr txBox="1">
            <a:spLocks/>
          </p:cNvSpPr>
          <p:nvPr/>
        </p:nvSpPr>
        <p:spPr>
          <a:xfrm>
            <a:off x="304800" y="1676400"/>
            <a:ext cx="8229600" cy="4953000"/>
          </a:xfrm>
          <a:prstGeom prst="rect">
            <a:avLst/>
          </a:prstGeom>
        </p:spPr>
        <p:txBody>
          <a:bodyPr>
            <a:normAutofit/>
          </a:bodyPr>
          <a:lstStyle/>
          <a:p>
            <a:pPr marL="576072" marR="0" lvl="0" indent="-457200" algn="l" defTabSz="914400" rtl="0" eaLnBrk="1" fontAlgn="auto" latinLnBrk="0" hangingPunct="1">
              <a:lnSpc>
                <a:spcPct val="100000"/>
              </a:lnSpc>
              <a:spcBef>
                <a:spcPts val="0"/>
              </a:spcBef>
              <a:spcAft>
                <a:spcPts val="0"/>
              </a:spcAft>
              <a:buClr>
                <a:schemeClr val="accent1"/>
              </a:buClr>
              <a:buSzPct val="80000"/>
              <a:buFont typeface="Arial" pitchFamily="34" charset="0"/>
              <a:buChar char="•"/>
              <a:tabLst/>
              <a:defRPr/>
            </a:pPr>
            <a:r>
              <a:rPr lang="en-US" sz="2800" b="1" dirty="0" smtClean="0"/>
              <a:t>National level</a:t>
            </a:r>
          </a:p>
          <a:p>
            <a:pPr marL="1033272" lvl="1" indent="-457200">
              <a:buClr>
                <a:schemeClr val="accent1"/>
              </a:buClr>
              <a:buSzPct val="80000"/>
              <a:buFont typeface="Arial" pitchFamily="34" charset="0"/>
              <a:buChar char="•"/>
              <a:defRPr/>
            </a:pPr>
            <a:r>
              <a:rPr lang="en-US" sz="2400" b="1" dirty="0" smtClean="0"/>
              <a:t>Comprehensive Multiyear Plan (</a:t>
            </a:r>
            <a:r>
              <a:rPr lang="en-US" sz="2400" b="1" dirty="0" err="1" smtClean="0"/>
              <a:t>cMYP</a:t>
            </a:r>
            <a:r>
              <a:rPr lang="en-US" sz="2400" b="1" dirty="0" smtClean="0"/>
              <a:t>)</a:t>
            </a:r>
          </a:p>
          <a:p>
            <a:pPr marL="1033272" lvl="1" indent="-457200">
              <a:buClr>
                <a:schemeClr val="accent1"/>
              </a:buClr>
              <a:buSzPct val="80000"/>
              <a:buFont typeface="Arial" pitchFamily="34" charset="0"/>
              <a:buChar char="•"/>
              <a:defRPr/>
            </a:pPr>
            <a:r>
              <a:rPr lang="en-US" sz="2400" b="1" dirty="0" smtClean="0"/>
              <a:t>Annual EPI plan</a:t>
            </a:r>
          </a:p>
          <a:p>
            <a:pPr marL="1033272" lvl="1" indent="-457200">
              <a:buClr>
                <a:schemeClr val="accent1"/>
              </a:buClr>
              <a:buSzPct val="80000"/>
              <a:buFont typeface="Arial" pitchFamily="34" charset="0"/>
              <a:buChar char="•"/>
              <a:defRPr/>
            </a:pPr>
            <a:r>
              <a:rPr lang="en-US" sz="2400" b="1" dirty="0" smtClean="0"/>
              <a:t>Other:  Measles Rubella Elimination plan, Polio Eradication plan, Hepatitis B control plan, </a:t>
            </a:r>
            <a:r>
              <a:rPr lang="en-US" sz="2400" b="1" dirty="0" err="1" smtClean="0"/>
              <a:t>etc</a:t>
            </a:r>
            <a:endParaRPr lang="en-US" sz="2400" b="1" dirty="0" smtClean="0"/>
          </a:p>
          <a:p>
            <a:pPr marL="576072" indent="-457200">
              <a:buClr>
                <a:schemeClr val="accent1"/>
              </a:buClr>
              <a:buSzPct val="80000"/>
              <a:buFont typeface="Arial" pitchFamily="34" charset="0"/>
              <a:buChar char="•"/>
              <a:defRPr/>
            </a:pPr>
            <a:r>
              <a:rPr lang="en-US" sz="2800" b="1" dirty="0" smtClean="0"/>
              <a:t>Local Levels (district, facility levels)</a:t>
            </a:r>
          </a:p>
          <a:p>
            <a:pPr marL="1033272" lvl="1" indent="-457200">
              <a:buClr>
                <a:schemeClr val="accent1"/>
              </a:buClr>
              <a:buSzPct val="80000"/>
              <a:buFont typeface="Arial" pitchFamily="34" charset="0"/>
              <a:buChar char="•"/>
              <a:defRPr/>
            </a:pPr>
            <a:r>
              <a:rPr lang="en-US" sz="2400" b="1" dirty="0" err="1" smtClean="0"/>
              <a:t>Microplans</a:t>
            </a:r>
            <a:endParaRPr lang="en-US" sz="2400" b="1" dirty="0" smtClean="0"/>
          </a:p>
          <a:p>
            <a:pPr marL="1490472" lvl="2" indent="-457200">
              <a:buClr>
                <a:schemeClr val="accent1"/>
              </a:buClr>
              <a:buSzPct val="80000"/>
              <a:buFont typeface="Arial" pitchFamily="34" charset="0"/>
              <a:buChar char="•"/>
              <a:defRPr/>
            </a:pPr>
            <a:endParaRPr lang="en-US" sz="3200" b="1" dirty="0" smtClean="0"/>
          </a:p>
          <a:p>
            <a:pPr marL="576072" lvl="1">
              <a:buClr>
                <a:schemeClr val="accent1"/>
              </a:buClr>
              <a:buSzPct val="80000"/>
              <a:defRPr/>
            </a:pPr>
            <a:endParaRPr lang="en-US" sz="2800" b="1" dirty="0" smtClean="0"/>
          </a:p>
        </p:txBody>
      </p:sp>
    </p:spTree>
    <p:extLst>
      <p:ext uri="{BB962C8B-B14F-4D97-AF65-F5344CB8AC3E}">
        <p14:creationId xmlns:p14="http://schemas.microsoft.com/office/powerpoint/2010/main" val="35269016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Immunization Plans</a:t>
            </a:r>
            <a:endParaRPr lang="en-US" b="1" dirty="0"/>
          </a:p>
        </p:txBody>
      </p:sp>
      <p:sp>
        <p:nvSpPr>
          <p:cNvPr id="17" name="Content Placeholder 2"/>
          <p:cNvSpPr txBox="1">
            <a:spLocks/>
          </p:cNvSpPr>
          <p:nvPr/>
        </p:nvSpPr>
        <p:spPr>
          <a:xfrm>
            <a:off x="304800" y="1676400"/>
            <a:ext cx="8229600" cy="4953000"/>
          </a:xfrm>
          <a:prstGeom prst="rect">
            <a:avLst/>
          </a:prstGeom>
        </p:spPr>
        <p:txBody>
          <a:bodyPr>
            <a:normAutofit/>
          </a:bodyPr>
          <a:lstStyle/>
          <a:p>
            <a:pPr marL="1490472" lvl="2" indent="-457200">
              <a:buClr>
                <a:schemeClr val="accent1"/>
              </a:buClr>
              <a:buSzPct val="80000"/>
              <a:buFont typeface="Arial" pitchFamily="34" charset="0"/>
              <a:buChar char="•"/>
              <a:defRPr/>
            </a:pPr>
            <a:endParaRPr lang="en-US" sz="3200" b="1" dirty="0" smtClean="0"/>
          </a:p>
          <a:p>
            <a:pPr marL="576072" lvl="1">
              <a:buClr>
                <a:schemeClr val="accent1"/>
              </a:buClr>
              <a:buSzPct val="80000"/>
              <a:defRPr/>
            </a:pPr>
            <a:endParaRPr lang="en-US" sz="2800" b="1" dirty="0" smtClean="0"/>
          </a:p>
        </p:txBody>
      </p:sp>
      <p:sp>
        <p:nvSpPr>
          <p:cNvPr id="4" name="TextBox 3"/>
          <p:cNvSpPr txBox="1"/>
          <p:nvPr/>
        </p:nvSpPr>
        <p:spPr>
          <a:xfrm>
            <a:off x="3773898" y="1531794"/>
            <a:ext cx="1892118" cy="369332"/>
          </a:xfrm>
          <a:prstGeom prst="rect">
            <a:avLst/>
          </a:prstGeom>
          <a:noFill/>
          <a:ln w="25400">
            <a:solidFill>
              <a:schemeClr val="accent1">
                <a:shade val="50000"/>
              </a:schemeClr>
            </a:solidFill>
          </a:ln>
        </p:spPr>
        <p:txBody>
          <a:bodyPr wrap="square" rtlCol="0">
            <a:spAutoFit/>
          </a:bodyPr>
          <a:lstStyle/>
          <a:p>
            <a:pPr algn="ctr"/>
            <a:r>
              <a:rPr lang="en-US" b="1" dirty="0" smtClean="0"/>
              <a:t>CMYP</a:t>
            </a:r>
            <a:endParaRPr lang="en-US" b="1" dirty="0"/>
          </a:p>
        </p:txBody>
      </p:sp>
      <p:sp>
        <p:nvSpPr>
          <p:cNvPr id="5" name="TextBox 4"/>
          <p:cNvSpPr txBox="1"/>
          <p:nvPr/>
        </p:nvSpPr>
        <p:spPr>
          <a:xfrm>
            <a:off x="3773898" y="1901126"/>
            <a:ext cx="381000" cy="1477328"/>
          </a:xfrm>
          <a:prstGeom prst="rect">
            <a:avLst/>
          </a:prstGeom>
          <a:noFill/>
          <a:ln w="25400">
            <a:solidFill>
              <a:schemeClr val="accent1">
                <a:shade val="50000"/>
              </a:schemeClr>
            </a:solidFill>
          </a:ln>
        </p:spPr>
        <p:txBody>
          <a:bodyPr wrap="square" rtlCol="0">
            <a:spAutoFit/>
          </a:bodyPr>
          <a:lstStyle/>
          <a:p>
            <a:r>
              <a:rPr lang="en-US" b="1" dirty="0" smtClean="0"/>
              <a:t>YEAR 1</a:t>
            </a:r>
            <a:endParaRPr lang="en-US" b="1" dirty="0"/>
          </a:p>
        </p:txBody>
      </p:sp>
      <p:sp>
        <p:nvSpPr>
          <p:cNvPr id="7" name="TextBox 6"/>
          <p:cNvSpPr txBox="1"/>
          <p:nvPr/>
        </p:nvSpPr>
        <p:spPr>
          <a:xfrm>
            <a:off x="4154259" y="1906938"/>
            <a:ext cx="381000" cy="1477328"/>
          </a:xfrm>
          <a:prstGeom prst="rect">
            <a:avLst/>
          </a:prstGeom>
          <a:noFill/>
          <a:ln w="25400">
            <a:solidFill>
              <a:schemeClr val="accent1">
                <a:shade val="50000"/>
              </a:schemeClr>
            </a:solidFill>
          </a:ln>
        </p:spPr>
        <p:txBody>
          <a:bodyPr wrap="square" rtlCol="0">
            <a:spAutoFit/>
          </a:bodyPr>
          <a:lstStyle/>
          <a:p>
            <a:r>
              <a:rPr lang="en-US" b="1" dirty="0" smtClean="0"/>
              <a:t>YEAR 2</a:t>
            </a:r>
            <a:endParaRPr lang="en-US" b="1" dirty="0"/>
          </a:p>
        </p:txBody>
      </p:sp>
      <p:sp>
        <p:nvSpPr>
          <p:cNvPr id="8" name="TextBox 7"/>
          <p:cNvSpPr txBox="1"/>
          <p:nvPr/>
        </p:nvSpPr>
        <p:spPr>
          <a:xfrm>
            <a:off x="4537206" y="1906938"/>
            <a:ext cx="381000" cy="1477328"/>
          </a:xfrm>
          <a:prstGeom prst="rect">
            <a:avLst/>
          </a:prstGeom>
          <a:noFill/>
          <a:ln w="25400">
            <a:solidFill>
              <a:schemeClr val="accent1">
                <a:shade val="50000"/>
              </a:schemeClr>
            </a:solidFill>
          </a:ln>
        </p:spPr>
        <p:txBody>
          <a:bodyPr wrap="square" rtlCol="0">
            <a:spAutoFit/>
          </a:bodyPr>
          <a:lstStyle/>
          <a:p>
            <a:r>
              <a:rPr lang="en-US" b="1" dirty="0" smtClean="0"/>
              <a:t>YEAR 3</a:t>
            </a:r>
            <a:endParaRPr lang="en-US" b="1" dirty="0"/>
          </a:p>
        </p:txBody>
      </p:sp>
      <p:sp>
        <p:nvSpPr>
          <p:cNvPr id="9" name="TextBox 8"/>
          <p:cNvSpPr txBox="1"/>
          <p:nvPr/>
        </p:nvSpPr>
        <p:spPr>
          <a:xfrm>
            <a:off x="4911756" y="1906938"/>
            <a:ext cx="381000" cy="1477328"/>
          </a:xfrm>
          <a:prstGeom prst="rect">
            <a:avLst/>
          </a:prstGeom>
          <a:noFill/>
          <a:ln w="25400">
            <a:solidFill>
              <a:schemeClr val="accent1">
                <a:shade val="50000"/>
              </a:schemeClr>
            </a:solidFill>
          </a:ln>
        </p:spPr>
        <p:txBody>
          <a:bodyPr wrap="square" rtlCol="0">
            <a:spAutoFit/>
          </a:bodyPr>
          <a:lstStyle/>
          <a:p>
            <a:r>
              <a:rPr lang="en-US" b="1" dirty="0" smtClean="0"/>
              <a:t>YEAR 4</a:t>
            </a:r>
            <a:endParaRPr lang="en-US" b="1" dirty="0"/>
          </a:p>
        </p:txBody>
      </p:sp>
      <p:sp>
        <p:nvSpPr>
          <p:cNvPr id="10" name="TextBox 9"/>
          <p:cNvSpPr txBox="1"/>
          <p:nvPr/>
        </p:nvSpPr>
        <p:spPr>
          <a:xfrm>
            <a:off x="5285016" y="1906938"/>
            <a:ext cx="381000" cy="1477328"/>
          </a:xfrm>
          <a:prstGeom prst="rect">
            <a:avLst/>
          </a:prstGeom>
          <a:noFill/>
          <a:ln w="25400">
            <a:solidFill>
              <a:schemeClr val="accent1">
                <a:shade val="50000"/>
              </a:schemeClr>
            </a:solidFill>
          </a:ln>
        </p:spPr>
        <p:txBody>
          <a:bodyPr wrap="square" rtlCol="0">
            <a:spAutoFit/>
          </a:bodyPr>
          <a:lstStyle/>
          <a:p>
            <a:r>
              <a:rPr lang="en-US" b="1" dirty="0" smtClean="0"/>
              <a:t>YEAR 5</a:t>
            </a:r>
            <a:endParaRPr lang="en-US" b="1" dirty="0"/>
          </a:p>
        </p:txBody>
      </p:sp>
      <p:cxnSp>
        <p:nvCxnSpPr>
          <p:cNvPr id="11" name="Straight Arrow Connector 10"/>
          <p:cNvCxnSpPr>
            <a:stCxn id="5" idx="2"/>
          </p:cNvCxnSpPr>
          <p:nvPr/>
        </p:nvCxnSpPr>
        <p:spPr>
          <a:xfrm>
            <a:off x="3964398" y="3378454"/>
            <a:ext cx="0" cy="54006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140379" y="3946969"/>
            <a:ext cx="1669320" cy="369332"/>
          </a:xfrm>
          <a:prstGeom prst="rect">
            <a:avLst/>
          </a:prstGeom>
          <a:noFill/>
          <a:ln w="25400">
            <a:solidFill>
              <a:schemeClr val="accent1">
                <a:shade val="95000"/>
                <a:satMod val="105000"/>
              </a:schemeClr>
            </a:solidFill>
          </a:ln>
        </p:spPr>
        <p:txBody>
          <a:bodyPr wrap="square" rtlCol="0">
            <a:spAutoFit/>
          </a:bodyPr>
          <a:lstStyle/>
          <a:p>
            <a:r>
              <a:rPr lang="en-US" b="1" dirty="0" smtClean="0"/>
              <a:t>Annual EPI Plan</a:t>
            </a:r>
            <a:endParaRPr lang="en-US" b="1" dirty="0"/>
          </a:p>
        </p:txBody>
      </p:sp>
      <p:sp>
        <p:nvSpPr>
          <p:cNvPr id="3" name="TextBox 2"/>
          <p:cNvSpPr txBox="1"/>
          <p:nvPr/>
        </p:nvSpPr>
        <p:spPr>
          <a:xfrm>
            <a:off x="1653144" y="5376620"/>
            <a:ext cx="1295400" cy="381000"/>
          </a:xfrm>
          <a:prstGeom prst="rect">
            <a:avLst/>
          </a:prstGeom>
          <a:noFill/>
          <a:ln w="25400">
            <a:solidFill>
              <a:schemeClr val="accent1">
                <a:shade val="95000"/>
                <a:satMod val="105000"/>
              </a:schemeClr>
            </a:solidFill>
          </a:ln>
        </p:spPr>
        <p:txBody>
          <a:bodyPr wrap="square" rtlCol="0">
            <a:spAutoFit/>
          </a:bodyPr>
          <a:lstStyle/>
          <a:p>
            <a:r>
              <a:rPr lang="en-US" b="1" dirty="0" err="1" smtClean="0"/>
              <a:t>Microplans</a:t>
            </a:r>
            <a:endParaRPr lang="en-US" b="1" dirty="0"/>
          </a:p>
        </p:txBody>
      </p:sp>
      <p:sp>
        <p:nvSpPr>
          <p:cNvPr id="14" name="TextBox 13"/>
          <p:cNvSpPr txBox="1"/>
          <p:nvPr/>
        </p:nvSpPr>
        <p:spPr>
          <a:xfrm>
            <a:off x="3045384" y="5376620"/>
            <a:ext cx="1295400" cy="381000"/>
          </a:xfrm>
          <a:prstGeom prst="rect">
            <a:avLst/>
          </a:prstGeom>
          <a:noFill/>
          <a:ln w="25400">
            <a:solidFill>
              <a:schemeClr val="accent1">
                <a:shade val="95000"/>
                <a:satMod val="105000"/>
              </a:schemeClr>
            </a:solidFill>
          </a:ln>
        </p:spPr>
        <p:txBody>
          <a:bodyPr wrap="square" rtlCol="0">
            <a:spAutoFit/>
          </a:bodyPr>
          <a:lstStyle/>
          <a:p>
            <a:r>
              <a:rPr lang="en-US" b="1" dirty="0" err="1" smtClean="0"/>
              <a:t>Microplans</a:t>
            </a:r>
            <a:endParaRPr lang="en-US" b="1" dirty="0"/>
          </a:p>
        </p:txBody>
      </p:sp>
      <p:sp>
        <p:nvSpPr>
          <p:cNvPr id="15" name="TextBox 14"/>
          <p:cNvSpPr txBox="1"/>
          <p:nvPr/>
        </p:nvSpPr>
        <p:spPr>
          <a:xfrm>
            <a:off x="5847942" y="5376620"/>
            <a:ext cx="1295400" cy="381000"/>
          </a:xfrm>
          <a:prstGeom prst="rect">
            <a:avLst/>
          </a:prstGeom>
          <a:noFill/>
          <a:ln w="25400">
            <a:solidFill>
              <a:schemeClr val="accent1">
                <a:shade val="95000"/>
                <a:satMod val="105000"/>
              </a:schemeClr>
            </a:solidFill>
          </a:ln>
        </p:spPr>
        <p:txBody>
          <a:bodyPr wrap="square" rtlCol="0">
            <a:spAutoFit/>
          </a:bodyPr>
          <a:lstStyle/>
          <a:p>
            <a:r>
              <a:rPr lang="en-US" b="1" dirty="0" err="1" smtClean="0"/>
              <a:t>Microplans</a:t>
            </a:r>
            <a:endParaRPr lang="en-US" b="1" dirty="0"/>
          </a:p>
        </p:txBody>
      </p:sp>
      <p:sp>
        <p:nvSpPr>
          <p:cNvPr id="16" name="TextBox 15"/>
          <p:cNvSpPr txBox="1"/>
          <p:nvPr/>
        </p:nvSpPr>
        <p:spPr>
          <a:xfrm>
            <a:off x="4435044" y="5376620"/>
            <a:ext cx="1295400" cy="381000"/>
          </a:xfrm>
          <a:prstGeom prst="rect">
            <a:avLst/>
          </a:prstGeom>
          <a:noFill/>
          <a:ln w="25400">
            <a:solidFill>
              <a:schemeClr val="accent1">
                <a:shade val="95000"/>
                <a:satMod val="105000"/>
              </a:schemeClr>
            </a:solidFill>
          </a:ln>
        </p:spPr>
        <p:txBody>
          <a:bodyPr wrap="square" rtlCol="0">
            <a:spAutoFit/>
          </a:bodyPr>
          <a:lstStyle/>
          <a:p>
            <a:r>
              <a:rPr lang="en-US" b="1" dirty="0" err="1" smtClean="0"/>
              <a:t>Microplans</a:t>
            </a:r>
            <a:endParaRPr lang="en-US" b="1" dirty="0"/>
          </a:p>
        </p:txBody>
      </p:sp>
      <p:cxnSp>
        <p:nvCxnSpPr>
          <p:cNvPr id="20" name="Straight Arrow Connector 19"/>
          <p:cNvCxnSpPr/>
          <p:nvPr/>
        </p:nvCxnSpPr>
        <p:spPr>
          <a:xfrm flipV="1">
            <a:off x="2590800" y="4316301"/>
            <a:ext cx="990600" cy="1060319"/>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14" idx="0"/>
          </p:cNvCxnSpPr>
          <p:nvPr/>
        </p:nvCxnSpPr>
        <p:spPr>
          <a:xfrm flipV="1">
            <a:off x="3693084" y="4316301"/>
            <a:ext cx="80814" cy="1060319"/>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flipV="1">
            <a:off x="4154898" y="4375688"/>
            <a:ext cx="927846" cy="95702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5" idx="0"/>
          </p:cNvCxnSpPr>
          <p:nvPr/>
        </p:nvCxnSpPr>
        <p:spPr>
          <a:xfrm flipH="1" flipV="1">
            <a:off x="4618821" y="4419600"/>
            <a:ext cx="1876821" cy="95702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79234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576072" lvl="0" indent="-457200">
              <a:spcBef>
                <a:spcPts val="0"/>
              </a:spcBef>
              <a:defRPr/>
            </a:pPr>
            <a:r>
              <a:rPr lang="en-US" b="1" dirty="0"/>
              <a:t>Comprehensive Multiyear Plan (</a:t>
            </a:r>
            <a:r>
              <a:rPr lang="en-US" b="1" dirty="0" err="1"/>
              <a:t>cMYP</a:t>
            </a:r>
            <a:r>
              <a:rPr lang="en-US" b="1" dirty="0"/>
              <a:t>)</a:t>
            </a:r>
          </a:p>
        </p:txBody>
      </p:sp>
      <p:sp>
        <p:nvSpPr>
          <p:cNvPr id="17" name="Content Placeholder 2"/>
          <p:cNvSpPr txBox="1">
            <a:spLocks/>
          </p:cNvSpPr>
          <p:nvPr/>
        </p:nvSpPr>
        <p:spPr>
          <a:xfrm>
            <a:off x="304800" y="1676400"/>
            <a:ext cx="8534400" cy="4953000"/>
          </a:xfrm>
          <a:prstGeom prst="rect">
            <a:avLst/>
          </a:prstGeom>
        </p:spPr>
        <p:txBody>
          <a:bodyPr>
            <a:normAutofit/>
          </a:bodyPr>
          <a:lstStyle/>
          <a:p>
            <a:pPr marL="576072" indent="-457200">
              <a:buClr>
                <a:schemeClr val="accent1"/>
              </a:buClr>
              <a:buSzPct val="80000"/>
              <a:buFont typeface="Arial" pitchFamily="34" charset="0"/>
              <a:buChar char="•"/>
              <a:defRPr/>
            </a:pPr>
            <a:r>
              <a:rPr lang="en-US" sz="2800" b="1" dirty="0" smtClean="0"/>
              <a:t>Strategic national immunization plan</a:t>
            </a:r>
          </a:p>
          <a:p>
            <a:pPr marL="576072" indent="-457200">
              <a:buClr>
                <a:schemeClr val="accent1"/>
              </a:buClr>
              <a:buSzPct val="80000"/>
              <a:buFont typeface="Arial" pitchFamily="34" charset="0"/>
              <a:buChar char="•"/>
              <a:defRPr/>
            </a:pPr>
            <a:r>
              <a:rPr lang="en-US" sz="2800" b="1" dirty="0" smtClean="0"/>
              <a:t>Often a 5 year plan</a:t>
            </a:r>
          </a:p>
          <a:p>
            <a:pPr marL="576072" indent="-457200">
              <a:buClr>
                <a:schemeClr val="accent1"/>
              </a:buClr>
              <a:buSzPct val="80000"/>
              <a:buFont typeface="Arial" pitchFamily="34" charset="0"/>
              <a:buChar char="•"/>
              <a:defRPr/>
            </a:pPr>
            <a:r>
              <a:rPr lang="en-US" sz="2800" b="1" dirty="0" smtClean="0"/>
              <a:t>Living document that adjusts to changing conditions</a:t>
            </a:r>
          </a:p>
          <a:p>
            <a:pPr marL="576072" indent="-457200">
              <a:buClr>
                <a:schemeClr val="accent1"/>
              </a:buClr>
              <a:buSzPct val="80000"/>
              <a:buFont typeface="Arial" pitchFamily="34" charset="0"/>
              <a:buChar char="•"/>
              <a:defRPr/>
            </a:pPr>
            <a:r>
              <a:rPr lang="en-US" sz="2800" b="1" dirty="0" smtClean="0"/>
              <a:t>Generates empirically-based budgets requests</a:t>
            </a:r>
          </a:p>
          <a:p>
            <a:pPr marL="576072" indent="-457200">
              <a:buClr>
                <a:schemeClr val="accent1"/>
              </a:buClr>
              <a:buSzPct val="80000"/>
              <a:buFont typeface="Arial" pitchFamily="34" charset="0"/>
              <a:buChar char="•"/>
              <a:defRPr/>
            </a:pPr>
            <a:r>
              <a:rPr lang="en-US" sz="2800" b="1" dirty="0" smtClean="0"/>
              <a:t>Provides up-to-date information for advocacy and reporting</a:t>
            </a:r>
          </a:p>
        </p:txBody>
      </p:sp>
    </p:spTree>
    <p:extLst>
      <p:ext uri="{BB962C8B-B14F-4D97-AF65-F5344CB8AC3E}">
        <p14:creationId xmlns:p14="http://schemas.microsoft.com/office/powerpoint/2010/main" val="190315169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576072" lvl="0" indent="-457200">
              <a:spcBef>
                <a:spcPts val="0"/>
              </a:spcBef>
              <a:defRPr/>
            </a:pPr>
            <a:r>
              <a:rPr lang="en-US" b="1" dirty="0"/>
              <a:t>Comprehensive Multiyear Plan (</a:t>
            </a:r>
            <a:r>
              <a:rPr lang="en-US" b="1" dirty="0" err="1"/>
              <a:t>cMYP</a:t>
            </a:r>
            <a:r>
              <a:rPr lang="en-US" b="1" dirty="0"/>
              <a:t>)</a:t>
            </a:r>
          </a:p>
        </p:txBody>
      </p:sp>
      <p:sp>
        <p:nvSpPr>
          <p:cNvPr id="17" name="Content Placeholder 2"/>
          <p:cNvSpPr txBox="1">
            <a:spLocks/>
          </p:cNvSpPr>
          <p:nvPr/>
        </p:nvSpPr>
        <p:spPr>
          <a:xfrm>
            <a:off x="304800" y="1676400"/>
            <a:ext cx="8534400" cy="4953000"/>
          </a:xfrm>
          <a:prstGeom prst="rect">
            <a:avLst/>
          </a:prstGeom>
        </p:spPr>
        <p:txBody>
          <a:bodyPr>
            <a:normAutofit/>
          </a:bodyPr>
          <a:lstStyle/>
          <a:p>
            <a:pPr marL="118872">
              <a:buClr>
                <a:schemeClr val="accent1"/>
              </a:buClr>
              <a:buSzPct val="80000"/>
              <a:defRPr/>
            </a:pPr>
            <a:r>
              <a:rPr lang="en-US" sz="2800" b="1" dirty="0" smtClean="0"/>
              <a:t>Main content areas</a:t>
            </a:r>
          </a:p>
          <a:p>
            <a:pPr marL="633222" indent="-514350">
              <a:buClr>
                <a:schemeClr val="accent1"/>
              </a:buClr>
              <a:buSzPct val="80000"/>
              <a:buFont typeface="+mj-lt"/>
              <a:buAutoNum type="arabicPeriod"/>
              <a:defRPr/>
            </a:pPr>
            <a:r>
              <a:rPr lang="en-US" sz="2800" b="1" dirty="0" smtClean="0"/>
              <a:t>Situation analysis</a:t>
            </a:r>
          </a:p>
          <a:p>
            <a:pPr marL="633222" indent="-514350">
              <a:buClr>
                <a:schemeClr val="accent1"/>
              </a:buClr>
              <a:buSzPct val="80000"/>
              <a:buFont typeface="+mj-lt"/>
              <a:buAutoNum type="arabicPeriod"/>
              <a:defRPr/>
            </a:pPr>
            <a:r>
              <a:rPr lang="en-US" sz="2800" b="1" dirty="0" smtClean="0"/>
              <a:t>Objectives and milestones</a:t>
            </a:r>
          </a:p>
          <a:p>
            <a:pPr marL="633222" indent="-514350">
              <a:buClr>
                <a:schemeClr val="accent1"/>
              </a:buClr>
              <a:buSzPct val="80000"/>
              <a:buFont typeface="+mj-lt"/>
              <a:buAutoNum type="arabicPeriod"/>
              <a:defRPr/>
            </a:pPr>
            <a:r>
              <a:rPr lang="en-US" sz="2800" b="1" dirty="0" smtClean="0"/>
              <a:t>Planning strategies</a:t>
            </a:r>
          </a:p>
          <a:p>
            <a:pPr marL="633222" indent="-514350">
              <a:buClr>
                <a:schemeClr val="accent1"/>
              </a:buClr>
              <a:buSzPct val="80000"/>
              <a:buFont typeface="+mj-lt"/>
              <a:buAutoNum type="arabicPeriod"/>
              <a:defRPr/>
            </a:pPr>
            <a:r>
              <a:rPr lang="en-US" sz="2800" b="1" dirty="0" smtClean="0"/>
              <a:t>Links to national, regional, and international goals</a:t>
            </a:r>
          </a:p>
          <a:p>
            <a:pPr marL="633222" indent="-514350">
              <a:buClr>
                <a:schemeClr val="accent1"/>
              </a:buClr>
              <a:buSzPct val="80000"/>
              <a:buFont typeface="+mj-lt"/>
              <a:buAutoNum type="arabicPeriod"/>
              <a:defRPr/>
            </a:pPr>
            <a:r>
              <a:rPr lang="en-US" sz="2800" b="1" dirty="0" smtClean="0"/>
              <a:t>Activity timeline, monitoring, and evaluation</a:t>
            </a:r>
          </a:p>
          <a:p>
            <a:pPr marL="633222" indent="-514350">
              <a:buClr>
                <a:schemeClr val="accent1"/>
              </a:buClr>
              <a:buSzPct val="80000"/>
              <a:buFont typeface="+mj-lt"/>
              <a:buAutoNum type="arabicPeriod"/>
              <a:defRPr/>
            </a:pPr>
            <a:r>
              <a:rPr lang="en-US" sz="2800" b="1" dirty="0" smtClean="0"/>
              <a:t>Cost &amp; financing &amp; resource mobilization</a:t>
            </a:r>
          </a:p>
          <a:p>
            <a:pPr marL="633222" indent="-514350">
              <a:buClr>
                <a:schemeClr val="accent1"/>
              </a:buClr>
              <a:buSzPct val="80000"/>
              <a:buFont typeface="+mj-lt"/>
              <a:buAutoNum type="arabicPeriod"/>
              <a:defRPr/>
            </a:pPr>
            <a:r>
              <a:rPr lang="en-US" sz="2800" b="1" dirty="0" smtClean="0"/>
              <a:t>Putting </a:t>
            </a:r>
            <a:r>
              <a:rPr lang="en-US" sz="2800" b="1" dirty="0" err="1" smtClean="0"/>
              <a:t>cMYP</a:t>
            </a:r>
            <a:r>
              <a:rPr lang="en-US" sz="2800" b="1" dirty="0" smtClean="0"/>
              <a:t> into action</a:t>
            </a:r>
          </a:p>
        </p:txBody>
      </p:sp>
    </p:spTree>
    <p:extLst>
      <p:ext uri="{BB962C8B-B14F-4D97-AF65-F5344CB8AC3E}">
        <p14:creationId xmlns:p14="http://schemas.microsoft.com/office/powerpoint/2010/main" val="16748465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576072" lvl="0" indent="-457200">
              <a:spcBef>
                <a:spcPts val="0"/>
              </a:spcBef>
              <a:defRPr/>
            </a:pPr>
            <a:r>
              <a:rPr lang="en-US" b="1" dirty="0" smtClean="0"/>
              <a:t>Annual EPI Plan</a:t>
            </a:r>
            <a:endParaRPr lang="en-US" b="1" dirty="0"/>
          </a:p>
        </p:txBody>
      </p:sp>
      <p:sp>
        <p:nvSpPr>
          <p:cNvPr id="17" name="Content Placeholder 2"/>
          <p:cNvSpPr txBox="1">
            <a:spLocks/>
          </p:cNvSpPr>
          <p:nvPr/>
        </p:nvSpPr>
        <p:spPr>
          <a:xfrm>
            <a:off x="304800" y="1676400"/>
            <a:ext cx="8534400" cy="4953000"/>
          </a:xfrm>
          <a:prstGeom prst="rect">
            <a:avLst/>
          </a:prstGeom>
        </p:spPr>
        <p:txBody>
          <a:bodyPr>
            <a:normAutofit/>
          </a:bodyPr>
          <a:lstStyle/>
          <a:p>
            <a:pPr marL="576072" indent="-457200">
              <a:buClr>
                <a:schemeClr val="accent1"/>
              </a:buClr>
              <a:buSzPct val="80000"/>
              <a:buFont typeface="Arial" panose="020B0604020202020204" pitchFamily="34" charset="0"/>
              <a:buChar char="•"/>
              <a:defRPr/>
            </a:pPr>
            <a:r>
              <a:rPr lang="en-US" sz="2800" b="1" dirty="0" smtClean="0"/>
              <a:t>Developed within the context of </a:t>
            </a:r>
            <a:r>
              <a:rPr lang="en-US" sz="2800" b="1" dirty="0" err="1" smtClean="0"/>
              <a:t>cMYP</a:t>
            </a:r>
            <a:endParaRPr lang="en-US" sz="2800" b="1" dirty="0" smtClean="0"/>
          </a:p>
          <a:p>
            <a:pPr marL="576072" indent="-457200">
              <a:buClr>
                <a:schemeClr val="accent1"/>
              </a:buClr>
              <a:buSzPct val="80000"/>
              <a:buFont typeface="Arial" panose="020B0604020202020204" pitchFamily="34" charset="0"/>
              <a:buChar char="•"/>
              <a:defRPr/>
            </a:pPr>
            <a:r>
              <a:rPr lang="en-US" sz="2800" b="1" dirty="0" smtClean="0"/>
              <a:t>Should contain specific activities for the year to achieve goals of </a:t>
            </a:r>
            <a:r>
              <a:rPr lang="en-US" sz="2800" b="1" dirty="0" err="1" smtClean="0"/>
              <a:t>cMYP</a:t>
            </a:r>
            <a:endParaRPr lang="en-US" sz="2800" b="1" dirty="0" smtClean="0"/>
          </a:p>
          <a:p>
            <a:pPr marL="576072" indent="-457200">
              <a:buClr>
                <a:schemeClr val="accent1"/>
              </a:buClr>
              <a:buSzPct val="80000"/>
              <a:buFont typeface="Arial" panose="020B0604020202020204" pitchFamily="34" charset="0"/>
              <a:buChar char="•"/>
              <a:defRPr/>
            </a:pPr>
            <a:r>
              <a:rPr lang="en-US" sz="2800" b="1" dirty="0" smtClean="0"/>
              <a:t>Should involve sub-national levels and be developed with sub-national levels</a:t>
            </a:r>
          </a:p>
        </p:txBody>
      </p:sp>
    </p:spTree>
    <p:extLst>
      <p:ext uri="{BB962C8B-B14F-4D97-AF65-F5344CB8AC3E}">
        <p14:creationId xmlns:p14="http://schemas.microsoft.com/office/powerpoint/2010/main" val="30792155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576072" lvl="0" indent="-457200">
              <a:spcBef>
                <a:spcPts val="0"/>
              </a:spcBef>
              <a:defRPr/>
            </a:pPr>
            <a:r>
              <a:rPr lang="en-US" b="1" dirty="0" err="1" smtClean="0"/>
              <a:t>Microplans</a:t>
            </a:r>
            <a:endParaRPr lang="en-US" b="1" dirty="0"/>
          </a:p>
        </p:txBody>
      </p:sp>
      <p:sp>
        <p:nvSpPr>
          <p:cNvPr id="17" name="Content Placeholder 2"/>
          <p:cNvSpPr txBox="1">
            <a:spLocks/>
          </p:cNvSpPr>
          <p:nvPr/>
        </p:nvSpPr>
        <p:spPr>
          <a:xfrm>
            <a:off x="304800" y="1676400"/>
            <a:ext cx="8534400" cy="4953000"/>
          </a:xfrm>
          <a:prstGeom prst="rect">
            <a:avLst/>
          </a:prstGeom>
        </p:spPr>
        <p:txBody>
          <a:bodyPr>
            <a:normAutofit/>
          </a:bodyPr>
          <a:lstStyle/>
          <a:p>
            <a:pPr marL="576072" indent="-457200">
              <a:buClr>
                <a:schemeClr val="accent1"/>
              </a:buClr>
              <a:buSzPct val="80000"/>
              <a:buFont typeface="Arial" panose="020B0604020202020204" pitchFamily="34" charset="0"/>
              <a:buChar char="•"/>
              <a:defRPr/>
            </a:pPr>
            <a:r>
              <a:rPr lang="en-US" sz="2800" b="1" dirty="0"/>
              <a:t>District </a:t>
            </a:r>
            <a:r>
              <a:rPr lang="en-US" sz="2800" b="1" dirty="0" err="1" smtClean="0"/>
              <a:t>microplans</a:t>
            </a:r>
            <a:r>
              <a:rPr lang="en-US" sz="2800" b="1" dirty="0" smtClean="0"/>
              <a:t>: consolidate </a:t>
            </a:r>
            <a:r>
              <a:rPr lang="en-US" sz="2800" b="1" dirty="0"/>
              <a:t>information on facilities (target information, vaccine needs, expected </a:t>
            </a:r>
            <a:r>
              <a:rPr lang="en-US" sz="2800" b="1" dirty="0" smtClean="0"/>
              <a:t>performance)</a:t>
            </a:r>
          </a:p>
          <a:p>
            <a:pPr marL="576072" indent="-457200">
              <a:buClr>
                <a:schemeClr val="accent1"/>
              </a:buClr>
              <a:buSzPct val="80000"/>
              <a:buFont typeface="Arial" panose="020B0604020202020204" pitchFamily="34" charset="0"/>
              <a:buChar char="•"/>
              <a:defRPr/>
            </a:pPr>
            <a:r>
              <a:rPr lang="en-US" sz="2800" b="1" dirty="0"/>
              <a:t>Facility </a:t>
            </a:r>
            <a:r>
              <a:rPr lang="en-US" sz="2800" b="1" dirty="0" err="1" smtClean="0"/>
              <a:t>microplans</a:t>
            </a:r>
            <a:r>
              <a:rPr lang="en-US" sz="2800" b="1" dirty="0" smtClean="0"/>
              <a:t>: identify </a:t>
            </a:r>
            <a:r>
              <a:rPr lang="en-US" sz="2800" b="1" dirty="0"/>
              <a:t>when, </a:t>
            </a:r>
            <a:r>
              <a:rPr lang="en-US" sz="2800" b="1" dirty="0" smtClean="0"/>
              <a:t>where, </a:t>
            </a:r>
            <a:r>
              <a:rPr lang="en-US" sz="2800" b="1" dirty="0"/>
              <a:t>and how to hold immunization sessions throughout </a:t>
            </a:r>
            <a:r>
              <a:rPr lang="en-US" sz="2800" b="1" dirty="0" smtClean="0"/>
              <a:t>catchment area</a:t>
            </a:r>
          </a:p>
          <a:p>
            <a:pPr marL="576072" indent="-457200">
              <a:buClr>
                <a:schemeClr val="accent1"/>
              </a:buClr>
              <a:buSzPct val="80000"/>
              <a:buFont typeface="Arial" panose="020B0604020202020204" pitchFamily="34" charset="0"/>
              <a:buChar char="•"/>
              <a:defRPr/>
            </a:pPr>
            <a:r>
              <a:rPr lang="en-US" sz="2800" b="1" dirty="0" smtClean="0"/>
              <a:t>Should be updated at least annually</a:t>
            </a:r>
          </a:p>
        </p:txBody>
      </p:sp>
    </p:spTree>
    <p:extLst>
      <p:ext uri="{BB962C8B-B14F-4D97-AF65-F5344CB8AC3E}">
        <p14:creationId xmlns:p14="http://schemas.microsoft.com/office/powerpoint/2010/main" val="289739973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576072" lvl="0" indent="-457200">
              <a:spcBef>
                <a:spcPts val="0"/>
              </a:spcBef>
              <a:defRPr/>
            </a:pPr>
            <a:r>
              <a:rPr lang="en-US" b="1" dirty="0" err="1" smtClean="0"/>
              <a:t>Microplans</a:t>
            </a:r>
            <a:endParaRPr lang="en-US" b="1" dirty="0"/>
          </a:p>
        </p:txBody>
      </p:sp>
      <p:sp>
        <p:nvSpPr>
          <p:cNvPr id="17" name="Content Placeholder 2"/>
          <p:cNvSpPr txBox="1">
            <a:spLocks/>
          </p:cNvSpPr>
          <p:nvPr/>
        </p:nvSpPr>
        <p:spPr>
          <a:xfrm>
            <a:off x="304800" y="1676400"/>
            <a:ext cx="8534400" cy="4953000"/>
          </a:xfrm>
          <a:prstGeom prst="rect">
            <a:avLst/>
          </a:prstGeom>
        </p:spPr>
        <p:txBody>
          <a:bodyPr>
            <a:normAutofit/>
          </a:bodyPr>
          <a:lstStyle/>
          <a:p>
            <a:pPr fontAlgn="auto">
              <a:spcAft>
                <a:spcPts val="0"/>
              </a:spcAft>
              <a:buFont typeface="Arial" pitchFamily="34" charset="0"/>
              <a:buChar char="•"/>
              <a:defRPr/>
            </a:pPr>
            <a:r>
              <a:rPr lang="en-US" sz="2800" b="1" dirty="0" err="1"/>
              <a:t>Microplans</a:t>
            </a:r>
            <a:r>
              <a:rPr lang="en-US" sz="2800" b="1" dirty="0"/>
              <a:t> commonly include</a:t>
            </a:r>
          </a:p>
          <a:p>
            <a:pPr lvl="1">
              <a:buFont typeface="Arial" pitchFamily="34" charset="0"/>
              <a:buChar char="•"/>
              <a:defRPr/>
            </a:pPr>
            <a:r>
              <a:rPr lang="en-US" sz="2400" b="1" dirty="0"/>
              <a:t>Catchment target population</a:t>
            </a:r>
          </a:p>
          <a:p>
            <a:pPr lvl="1">
              <a:buFont typeface="Arial" pitchFamily="34" charset="0"/>
              <a:buChar char="•"/>
              <a:defRPr/>
            </a:pPr>
            <a:r>
              <a:rPr lang="en-US" sz="2400" b="1" dirty="0"/>
              <a:t>Vaccine forecast information</a:t>
            </a:r>
          </a:p>
          <a:p>
            <a:pPr lvl="1">
              <a:buFont typeface="Arial" pitchFamily="34" charset="0"/>
              <a:buChar char="•"/>
              <a:defRPr/>
            </a:pPr>
            <a:r>
              <a:rPr lang="en-US" sz="2400" b="1" dirty="0"/>
              <a:t>List of villages with population and session type</a:t>
            </a:r>
          </a:p>
          <a:p>
            <a:pPr lvl="1">
              <a:buFont typeface="Arial" pitchFamily="34" charset="0"/>
              <a:buChar char="•"/>
              <a:defRPr/>
            </a:pPr>
            <a:r>
              <a:rPr lang="en-US" sz="2400" b="1" dirty="0"/>
              <a:t>List of planned and held outreach sessions and applicable villages</a:t>
            </a:r>
          </a:p>
          <a:p>
            <a:pPr lvl="1">
              <a:buFont typeface="Arial" pitchFamily="34" charset="0"/>
              <a:buChar char="•"/>
              <a:defRPr/>
            </a:pPr>
            <a:r>
              <a:rPr lang="en-US" sz="2400" b="1" dirty="0"/>
              <a:t>Map with distances, hard to reach areas, villages and their populations, outreach sites</a:t>
            </a:r>
          </a:p>
          <a:p>
            <a:pPr lvl="1">
              <a:buFont typeface="Arial" pitchFamily="34" charset="0"/>
              <a:buChar char="•"/>
              <a:defRPr/>
            </a:pPr>
            <a:r>
              <a:rPr lang="en-US" sz="2400" b="1" dirty="0"/>
              <a:t>Social mobilization activities</a:t>
            </a:r>
          </a:p>
        </p:txBody>
      </p:sp>
    </p:spTree>
    <p:extLst>
      <p:ext uri="{BB962C8B-B14F-4D97-AF65-F5344CB8AC3E}">
        <p14:creationId xmlns:p14="http://schemas.microsoft.com/office/powerpoint/2010/main" val="18569861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228600" y="228600"/>
            <a:ext cx="8715375" cy="1143000"/>
          </a:xfrm>
        </p:spPr>
        <p:txBody>
          <a:bodyPr/>
          <a:lstStyle/>
          <a:p>
            <a:r>
              <a:rPr lang="en-US" altLang="en-US" sz="3200" b="1" smtClean="0"/>
              <a:t>Recommended Routine Immunizations</a:t>
            </a:r>
            <a:endParaRPr lang="en-US" altLang="en-US" sz="3200" smtClean="0"/>
          </a:p>
        </p:txBody>
      </p:sp>
      <p:graphicFrame>
        <p:nvGraphicFramePr>
          <p:cNvPr id="4" name="Chart Placeholder 3"/>
          <p:cNvGraphicFramePr>
            <a:graphicFrameLocks noGrp="1"/>
          </p:cNvGraphicFramePr>
          <p:nvPr>
            <p:ph type="chart" idx="1"/>
            <p:extLst>
              <p:ext uri="{D42A27DB-BD31-4B8C-83A1-F6EECF244321}">
                <p14:modId xmlns:p14="http://schemas.microsoft.com/office/powerpoint/2010/main" val="2031650273"/>
              </p:ext>
            </p:extLst>
          </p:nvPr>
        </p:nvGraphicFramePr>
        <p:xfrm>
          <a:off x="460375" y="1260475"/>
          <a:ext cx="4340225" cy="4145184"/>
        </p:xfrm>
        <a:graphic>
          <a:graphicData uri="http://schemas.openxmlformats.org/drawingml/2006/table">
            <a:tbl>
              <a:tblPr firstRow="1" bandRow="1">
                <a:tableStyleId>{5C22544A-7EE6-4342-B048-85BDC9FD1C3A}</a:tableStyleId>
              </a:tblPr>
              <a:tblGrid>
                <a:gridCol w="4340225"/>
              </a:tblGrid>
              <a:tr h="3961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u="sng" dirty="0" smtClean="0">
                          <a:solidFill>
                            <a:schemeClr val="tx1"/>
                          </a:solidFill>
                          <a:latin typeface="+mn-lt"/>
                        </a:rPr>
                        <a:t>For all</a:t>
                      </a:r>
                    </a:p>
                  </a:txBody>
                  <a:tcPr marT="45696" marB="45696">
                    <a:solidFill>
                      <a:schemeClr val="bg1"/>
                    </a:solidFill>
                  </a:tcPr>
                </a:tc>
              </a:tr>
              <a:tr h="3748787">
                <a:tc>
                  <a:txBody>
                    <a:bodyPr/>
                    <a:lstStyle/>
                    <a:p>
                      <a:pPr marL="398463" indent="-398463">
                        <a:buClrTx/>
                        <a:buFontTx/>
                        <a:buChar char="•"/>
                        <a:defRPr/>
                      </a:pPr>
                      <a:r>
                        <a:rPr lang="en-US" sz="2000" b="1" dirty="0" smtClean="0">
                          <a:latin typeface="+mn-lt"/>
                        </a:rPr>
                        <a:t>Tuberculosis (BCG)</a:t>
                      </a:r>
                    </a:p>
                    <a:p>
                      <a:pPr marL="398463" indent="-398463">
                        <a:buClrTx/>
                        <a:buFontTx/>
                        <a:buChar char="•"/>
                        <a:defRPr/>
                      </a:pPr>
                      <a:r>
                        <a:rPr lang="en-US" sz="2000" b="1" dirty="0" smtClean="0">
                          <a:latin typeface="+mn-lt"/>
                        </a:rPr>
                        <a:t>DTP</a:t>
                      </a:r>
                      <a:r>
                        <a:rPr lang="en-US" sz="2000" b="1" baseline="0" dirty="0" smtClean="0">
                          <a:latin typeface="+mn-lt"/>
                        </a:rPr>
                        <a:t> (</a:t>
                      </a:r>
                      <a:r>
                        <a:rPr lang="en-US" sz="2000" b="1" dirty="0" smtClean="0">
                          <a:latin typeface="+mn-lt"/>
                        </a:rPr>
                        <a:t>Diphtheria,</a:t>
                      </a:r>
                      <a:r>
                        <a:rPr lang="en-US" sz="2000" b="1" baseline="0" dirty="0" smtClean="0">
                          <a:latin typeface="+mn-lt"/>
                        </a:rPr>
                        <a:t> </a:t>
                      </a:r>
                      <a:r>
                        <a:rPr lang="en-US" sz="2000" b="1" dirty="0" smtClean="0">
                          <a:latin typeface="+mn-lt"/>
                        </a:rPr>
                        <a:t>Tetanus,</a:t>
                      </a:r>
                      <a:r>
                        <a:rPr lang="en-US" sz="2000" b="1" baseline="0" dirty="0" smtClean="0">
                          <a:latin typeface="+mn-lt"/>
                        </a:rPr>
                        <a:t> </a:t>
                      </a:r>
                      <a:r>
                        <a:rPr lang="en-US" sz="2000" b="1" dirty="0" smtClean="0">
                          <a:latin typeface="+mn-lt"/>
                        </a:rPr>
                        <a:t>Pertussis)</a:t>
                      </a:r>
                    </a:p>
                    <a:p>
                      <a:pPr marL="398463" indent="-398463">
                        <a:buClrTx/>
                        <a:buFontTx/>
                        <a:buChar char="•"/>
                        <a:defRPr/>
                      </a:pPr>
                      <a:r>
                        <a:rPr lang="en-US" sz="2000" b="1" dirty="0" smtClean="0">
                          <a:solidFill>
                            <a:schemeClr val="tx1"/>
                          </a:solidFill>
                          <a:latin typeface="+mn-lt"/>
                        </a:rPr>
                        <a:t>Polio</a:t>
                      </a:r>
                    </a:p>
                    <a:p>
                      <a:pPr marL="398463" indent="-398463">
                        <a:buClrTx/>
                        <a:buFontTx/>
                        <a:buChar char="•"/>
                        <a:defRPr/>
                      </a:pPr>
                      <a:r>
                        <a:rPr lang="en-US" sz="2000" b="1" dirty="0" smtClean="0">
                          <a:solidFill>
                            <a:schemeClr val="tx1"/>
                          </a:solidFill>
                          <a:latin typeface="+mn-lt"/>
                        </a:rPr>
                        <a:t>Measles</a:t>
                      </a:r>
                    </a:p>
                    <a:p>
                      <a:pPr marL="398463" indent="-398463">
                        <a:buClrTx/>
                        <a:buFontTx/>
                        <a:buChar char="•"/>
                        <a:defRPr/>
                      </a:pPr>
                      <a:r>
                        <a:rPr lang="en-US" sz="2000" b="1" dirty="0" smtClean="0">
                          <a:latin typeface="+mn-lt"/>
                        </a:rPr>
                        <a:t>Hepatitis B</a:t>
                      </a:r>
                    </a:p>
                    <a:p>
                      <a:pPr marL="398463" indent="-398463">
                        <a:buClrTx/>
                        <a:buFontTx/>
                        <a:buChar char="•"/>
                        <a:defRPr/>
                      </a:pPr>
                      <a:r>
                        <a:rPr lang="en-US" sz="2000" b="1" i="1" dirty="0" smtClean="0">
                          <a:latin typeface="+mn-lt"/>
                        </a:rPr>
                        <a:t>Haemophilus influenza b*</a:t>
                      </a:r>
                    </a:p>
                    <a:p>
                      <a:pPr marL="398463" indent="-398463">
                        <a:buClrTx/>
                        <a:buFontTx/>
                        <a:buChar char="•"/>
                        <a:defRPr/>
                      </a:pPr>
                      <a:r>
                        <a:rPr lang="en-US" sz="2000" b="1" dirty="0" smtClean="0">
                          <a:latin typeface="+mn-lt"/>
                        </a:rPr>
                        <a:t>Pneumococcal*</a:t>
                      </a:r>
                    </a:p>
                    <a:p>
                      <a:pPr marL="398463" indent="-398463">
                        <a:buClrTx/>
                        <a:buFontTx/>
                        <a:buChar char="•"/>
                        <a:defRPr/>
                      </a:pPr>
                      <a:r>
                        <a:rPr lang="en-US" sz="2000" b="1" dirty="0" smtClean="0">
                          <a:latin typeface="+mn-lt"/>
                        </a:rPr>
                        <a:t>Rotavirus*</a:t>
                      </a:r>
                    </a:p>
                    <a:p>
                      <a:pPr marL="398463" marR="0" indent="-398463" algn="l" defTabSz="914400" rtl="0" eaLnBrk="1" fontAlgn="auto" latinLnBrk="0" hangingPunct="1">
                        <a:lnSpc>
                          <a:spcPct val="100000"/>
                        </a:lnSpc>
                        <a:spcBef>
                          <a:spcPts val="0"/>
                        </a:spcBef>
                        <a:spcAft>
                          <a:spcPts val="0"/>
                        </a:spcAft>
                        <a:buClrTx/>
                        <a:buSzTx/>
                        <a:buFontTx/>
                        <a:buChar char="•"/>
                        <a:tabLst/>
                        <a:defRPr/>
                      </a:pPr>
                      <a:r>
                        <a:rPr lang="en-US" sz="2000" b="1" dirty="0" smtClean="0">
                          <a:latin typeface="+mn-lt"/>
                        </a:rPr>
                        <a:t>Rubella*</a:t>
                      </a:r>
                    </a:p>
                    <a:p>
                      <a:pPr marL="398463" indent="-398463">
                        <a:buClrTx/>
                        <a:buFontTx/>
                        <a:buChar char="•"/>
                        <a:defRPr/>
                      </a:pPr>
                      <a:r>
                        <a:rPr lang="en-US" sz="2000" b="1" dirty="0" smtClean="0">
                          <a:latin typeface="+mn-lt"/>
                        </a:rPr>
                        <a:t>Human Papillomavirus*</a:t>
                      </a:r>
                    </a:p>
                    <a:p>
                      <a:pPr marL="398463" indent="-398463">
                        <a:buClrTx/>
                        <a:buFontTx/>
                        <a:buChar char="•"/>
                        <a:defRPr/>
                      </a:pPr>
                      <a:endParaRPr lang="en-US" sz="2000" b="1" dirty="0" smtClean="0">
                        <a:latin typeface="+mn-lt"/>
                      </a:endParaRPr>
                    </a:p>
                    <a:p>
                      <a:pPr marL="398463" indent="-398463">
                        <a:buClrTx/>
                        <a:buFontTx/>
                        <a:buChar char="•"/>
                        <a:defRPr/>
                      </a:pPr>
                      <a:endParaRPr lang="en-US" sz="2000" b="1" dirty="0"/>
                    </a:p>
                  </a:txBody>
                  <a:tcPr marT="45696" marB="45696">
                    <a:solidFill>
                      <a:schemeClr val="bg1"/>
                    </a:solidFill>
                  </a:tcPr>
                </a:tc>
              </a:tr>
            </a:tbl>
          </a:graphicData>
        </a:graphic>
      </p:graphicFrame>
      <p:graphicFrame>
        <p:nvGraphicFramePr>
          <p:cNvPr id="5" name="Chart Placeholder 3"/>
          <p:cNvGraphicFramePr>
            <a:graphicFrameLocks/>
          </p:cNvGraphicFramePr>
          <p:nvPr/>
        </p:nvGraphicFramePr>
        <p:xfrm>
          <a:off x="460375" y="4905375"/>
          <a:ext cx="5483225" cy="1892300"/>
        </p:xfrm>
        <a:graphic>
          <a:graphicData uri="http://schemas.openxmlformats.org/drawingml/2006/table">
            <a:tbl>
              <a:tblPr firstRow="1" bandRow="1">
                <a:tableStyleId>{5C22544A-7EE6-4342-B048-85BDC9FD1C3A}</a:tableStyleId>
              </a:tblPr>
              <a:tblGrid>
                <a:gridCol w="5483225"/>
              </a:tblGrid>
              <a:tr h="3963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u="sng" dirty="0" smtClean="0">
                          <a:solidFill>
                            <a:schemeClr val="tx1"/>
                          </a:solidFill>
                          <a:latin typeface="+mn-lt"/>
                        </a:rPr>
                        <a:t>For certain</a:t>
                      </a:r>
                      <a:r>
                        <a:rPr lang="en-US" sz="2000" b="1" u="sng" baseline="0" dirty="0" smtClean="0">
                          <a:solidFill>
                            <a:schemeClr val="tx1"/>
                          </a:solidFill>
                          <a:latin typeface="+mn-lt"/>
                        </a:rPr>
                        <a:t> regions</a:t>
                      </a:r>
                      <a:endParaRPr lang="en-US" sz="2000" b="1" u="sng" dirty="0" smtClean="0">
                        <a:solidFill>
                          <a:schemeClr val="tx1"/>
                        </a:solidFill>
                        <a:latin typeface="+mn-lt"/>
                      </a:endParaRPr>
                    </a:p>
                  </a:txBody>
                  <a:tcPr marT="45737" marB="45737">
                    <a:solidFill>
                      <a:schemeClr val="bg1"/>
                    </a:solidFill>
                  </a:tcPr>
                </a:tc>
              </a:tr>
              <a:tr h="1495913">
                <a:tc>
                  <a:txBody>
                    <a:bodyPr/>
                    <a:lstStyle/>
                    <a:p>
                      <a:pPr marL="398463" indent="-398463">
                        <a:buClrTx/>
                        <a:buFontTx/>
                        <a:buChar char="•"/>
                        <a:defRPr/>
                      </a:pPr>
                      <a:r>
                        <a:rPr lang="en-US" sz="2000" b="1" dirty="0" smtClean="0">
                          <a:latin typeface="+mn-lt"/>
                        </a:rPr>
                        <a:t>Japanese encephalitis (Asia)</a:t>
                      </a:r>
                    </a:p>
                    <a:p>
                      <a:pPr marL="398463" indent="-398463">
                        <a:buClrTx/>
                        <a:buFontTx/>
                        <a:buChar char="•"/>
                        <a:defRPr/>
                      </a:pPr>
                      <a:r>
                        <a:rPr lang="en-US" sz="2000" b="1" dirty="0" smtClean="0">
                          <a:latin typeface="+mn-lt"/>
                        </a:rPr>
                        <a:t>Yellow Fever (Sub-Saharan Africa, S. America)</a:t>
                      </a:r>
                      <a:endParaRPr lang="en-US" sz="2000" b="1" dirty="0">
                        <a:latin typeface="+mn-lt"/>
                      </a:endParaRPr>
                    </a:p>
                  </a:txBody>
                  <a:tcPr marT="45737" marB="45737">
                    <a:solidFill>
                      <a:schemeClr val="bg1"/>
                    </a:solidFill>
                  </a:tcPr>
                </a:tc>
              </a:tr>
            </a:tbl>
          </a:graphicData>
        </a:graphic>
      </p:graphicFrame>
      <p:graphicFrame>
        <p:nvGraphicFramePr>
          <p:cNvPr id="7" name="Chart Placeholder 3"/>
          <p:cNvGraphicFramePr>
            <a:graphicFrameLocks/>
          </p:cNvGraphicFramePr>
          <p:nvPr/>
        </p:nvGraphicFramePr>
        <p:xfrm>
          <a:off x="5562600" y="3352800"/>
          <a:ext cx="3022600" cy="2197100"/>
        </p:xfrm>
        <a:graphic>
          <a:graphicData uri="http://schemas.openxmlformats.org/drawingml/2006/table">
            <a:tbl>
              <a:tblPr firstRow="1" bandRow="1">
                <a:tableStyleId>{5C22544A-7EE6-4342-B048-85BDC9FD1C3A}</a:tableStyleId>
              </a:tblPr>
              <a:tblGrid>
                <a:gridCol w="3022600"/>
              </a:tblGrid>
              <a:tr h="70126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u="sng" dirty="0" smtClean="0">
                          <a:solidFill>
                            <a:schemeClr val="tx1"/>
                          </a:solidFill>
                          <a:latin typeface="+mn-lt"/>
                        </a:rPr>
                        <a:t>For programs with </a:t>
                      </a:r>
                    </a:p>
                    <a:p>
                      <a:pPr marL="0" marR="0" indent="0" algn="l" defTabSz="914400" rtl="0" eaLnBrk="1" fontAlgn="auto" latinLnBrk="0" hangingPunct="1">
                        <a:lnSpc>
                          <a:spcPct val="100000"/>
                        </a:lnSpc>
                        <a:spcBef>
                          <a:spcPts val="0"/>
                        </a:spcBef>
                        <a:spcAft>
                          <a:spcPts val="0"/>
                        </a:spcAft>
                        <a:buClrTx/>
                        <a:buSzTx/>
                        <a:buFontTx/>
                        <a:buNone/>
                        <a:tabLst/>
                        <a:defRPr/>
                      </a:pPr>
                      <a:r>
                        <a:rPr lang="en-US" sz="2000" b="1" u="sng" dirty="0" smtClean="0">
                          <a:solidFill>
                            <a:schemeClr val="tx1"/>
                          </a:solidFill>
                          <a:latin typeface="+mn-lt"/>
                        </a:rPr>
                        <a:t>certain characteristics</a:t>
                      </a:r>
                    </a:p>
                  </a:txBody>
                  <a:tcPr marL="91463" marR="91463" marT="45735" marB="45735">
                    <a:solidFill>
                      <a:schemeClr val="bg1"/>
                    </a:solidFill>
                  </a:tcPr>
                </a:tc>
              </a:tr>
              <a:tr h="1495836">
                <a:tc>
                  <a:txBody>
                    <a:bodyPr/>
                    <a:lstStyle/>
                    <a:p>
                      <a:pPr marL="398463" indent="-398463">
                        <a:buClrTx/>
                        <a:buFontTx/>
                        <a:buChar char="•"/>
                        <a:defRPr/>
                      </a:pPr>
                      <a:r>
                        <a:rPr lang="en-US" sz="2000" b="1" dirty="0" smtClean="0">
                          <a:latin typeface="+mn-lt"/>
                        </a:rPr>
                        <a:t>Mumps*</a:t>
                      </a:r>
                      <a:endParaRPr lang="en-US" sz="2000" b="1" baseline="0" dirty="0" smtClean="0">
                        <a:latin typeface="+mn-lt"/>
                      </a:endParaRPr>
                    </a:p>
                    <a:p>
                      <a:pPr marL="398463" indent="-398463">
                        <a:buClrTx/>
                        <a:buFontTx/>
                        <a:buChar char="•"/>
                        <a:defRPr/>
                      </a:pPr>
                      <a:r>
                        <a:rPr lang="en-US" sz="2000" b="1" baseline="0" dirty="0" smtClean="0">
                          <a:latin typeface="+mn-lt"/>
                        </a:rPr>
                        <a:t>Influenza (inactivated)</a:t>
                      </a:r>
                      <a:endParaRPr lang="en-US" sz="2000" b="1" dirty="0">
                        <a:latin typeface="+mn-lt"/>
                      </a:endParaRPr>
                    </a:p>
                  </a:txBody>
                  <a:tcPr marL="91463" marR="91463" marT="45735" marB="45735">
                    <a:solidFill>
                      <a:schemeClr val="bg1"/>
                    </a:solidFill>
                  </a:tcPr>
                </a:tc>
              </a:tr>
            </a:tbl>
          </a:graphicData>
        </a:graphic>
      </p:graphicFrame>
      <p:graphicFrame>
        <p:nvGraphicFramePr>
          <p:cNvPr id="8" name="Chart Placeholder 3"/>
          <p:cNvGraphicFramePr>
            <a:graphicFrameLocks/>
          </p:cNvGraphicFramePr>
          <p:nvPr/>
        </p:nvGraphicFramePr>
        <p:xfrm>
          <a:off x="5562600" y="1260475"/>
          <a:ext cx="3022600" cy="2011512"/>
        </p:xfrm>
        <a:graphic>
          <a:graphicData uri="http://schemas.openxmlformats.org/drawingml/2006/table">
            <a:tbl>
              <a:tblPr firstRow="1" bandRow="1">
                <a:tableStyleId>{5C22544A-7EE6-4342-B048-85BDC9FD1C3A}</a:tableStyleId>
              </a:tblPr>
              <a:tblGrid>
                <a:gridCol w="3022600"/>
              </a:tblGrid>
              <a:tr h="3961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u="sng" dirty="0" smtClean="0">
                          <a:solidFill>
                            <a:schemeClr val="tx1"/>
                          </a:solidFill>
                          <a:latin typeface="+mn-lt"/>
                        </a:rPr>
                        <a:t>For high</a:t>
                      </a:r>
                      <a:r>
                        <a:rPr lang="en-US" sz="2000" b="1" u="sng" baseline="0" dirty="0" smtClean="0">
                          <a:solidFill>
                            <a:schemeClr val="tx1"/>
                          </a:solidFill>
                          <a:latin typeface="+mn-lt"/>
                        </a:rPr>
                        <a:t>-risk populations</a:t>
                      </a:r>
                      <a:endParaRPr lang="en-US" sz="2000" b="1" u="sng" dirty="0" smtClean="0">
                        <a:solidFill>
                          <a:schemeClr val="tx1"/>
                        </a:solidFill>
                        <a:latin typeface="+mn-lt"/>
                      </a:endParaRPr>
                    </a:p>
                  </a:txBody>
                  <a:tcPr marL="91463" marR="91463" marT="45678" marB="45678">
                    <a:solidFill>
                      <a:schemeClr val="bg1"/>
                    </a:solidFill>
                  </a:tcPr>
                </a:tc>
              </a:tr>
              <a:tr h="1615231">
                <a:tc>
                  <a:txBody>
                    <a:bodyPr/>
                    <a:lstStyle/>
                    <a:p>
                      <a:pPr marL="398463" indent="-398463">
                        <a:buClrTx/>
                        <a:buFontTx/>
                        <a:buChar char="•"/>
                        <a:defRPr/>
                      </a:pPr>
                      <a:r>
                        <a:rPr lang="en-US" sz="2000" b="1" dirty="0" smtClean="0">
                          <a:latin typeface="+mn-lt"/>
                        </a:rPr>
                        <a:t>Typhoid</a:t>
                      </a:r>
                    </a:p>
                    <a:p>
                      <a:pPr marL="398463" indent="-398463">
                        <a:buClrTx/>
                        <a:buFontTx/>
                        <a:buChar char="•"/>
                        <a:defRPr/>
                      </a:pPr>
                      <a:r>
                        <a:rPr lang="en-US" sz="2000" b="1" dirty="0" smtClean="0">
                          <a:latin typeface="+mn-lt"/>
                        </a:rPr>
                        <a:t>Cholera</a:t>
                      </a:r>
                    </a:p>
                    <a:p>
                      <a:pPr marL="398463" indent="-398463">
                        <a:buClrTx/>
                        <a:buFontTx/>
                        <a:buChar char="•"/>
                        <a:defRPr/>
                      </a:pPr>
                      <a:r>
                        <a:rPr lang="en-US" sz="2000" b="1" dirty="0" smtClean="0">
                          <a:latin typeface="+mn-lt"/>
                        </a:rPr>
                        <a:t>Meningococcal</a:t>
                      </a:r>
                    </a:p>
                    <a:p>
                      <a:pPr marL="398463" indent="-398463">
                        <a:buClrTx/>
                        <a:buFontTx/>
                        <a:buChar char="•"/>
                        <a:defRPr/>
                      </a:pPr>
                      <a:r>
                        <a:rPr lang="en-US" sz="2000" b="1" dirty="0" smtClean="0">
                          <a:latin typeface="+mn-lt"/>
                        </a:rPr>
                        <a:t>Hepatitis A</a:t>
                      </a:r>
                    </a:p>
                    <a:p>
                      <a:pPr marL="398463" indent="-398463">
                        <a:buClrTx/>
                        <a:buFontTx/>
                        <a:buChar char="•"/>
                        <a:defRPr/>
                      </a:pPr>
                      <a:r>
                        <a:rPr lang="en-US" sz="2000" b="1" dirty="0" smtClean="0">
                          <a:latin typeface="+mn-lt"/>
                        </a:rPr>
                        <a:t>Rabies</a:t>
                      </a:r>
                      <a:endParaRPr lang="en-US" sz="2000" b="1" dirty="0">
                        <a:latin typeface="+mn-lt"/>
                      </a:endParaRPr>
                    </a:p>
                  </a:txBody>
                  <a:tcPr marL="91463" marR="91463" marT="45678" marB="45678">
                    <a:solidFill>
                      <a:schemeClr val="bg1"/>
                    </a:solidFill>
                  </a:tcPr>
                </a:tc>
              </a:tr>
            </a:tbl>
          </a:graphicData>
        </a:graphic>
      </p:graphicFrame>
      <p:sp>
        <p:nvSpPr>
          <p:cNvPr id="17443" name="TextBox 8"/>
          <p:cNvSpPr txBox="1">
            <a:spLocks noChangeArrowheads="1"/>
          </p:cNvSpPr>
          <p:nvPr/>
        </p:nvSpPr>
        <p:spPr bwMode="auto">
          <a:xfrm>
            <a:off x="533400" y="6172200"/>
            <a:ext cx="63246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1400" b="1">
                <a:latin typeface="Tahoma" pitchFamily="34" charset="0"/>
              </a:rPr>
              <a:t>* New and / or underutilized vaccine in some regions or countries</a:t>
            </a:r>
          </a:p>
          <a:p>
            <a:pPr eaLnBrk="1" hangingPunct="1">
              <a:spcBef>
                <a:spcPct val="0"/>
              </a:spcBef>
              <a:buFontTx/>
              <a:buNone/>
            </a:pPr>
            <a:r>
              <a:rPr lang="en-US" altLang="en-US" sz="1400" b="1">
                <a:latin typeface="Tahoma" pitchFamily="34" charset="0"/>
              </a:rPr>
              <a:t>WHO, September 2011</a:t>
            </a:r>
          </a:p>
        </p:txBody>
      </p:sp>
    </p:spTree>
    <p:extLst>
      <p:ext uri="{BB962C8B-B14F-4D97-AF65-F5344CB8AC3E}">
        <p14:creationId xmlns:p14="http://schemas.microsoft.com/office/powerpoint/2010/main" val="49319802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50" name="Object 18"/>
          <p:cNvGraphicFramePr>
            <a:graphicFrameLocks noChangeAspect="1"/>
          </p:cNvGraphicFramePr>
          <p:nvPr>
            <p:extLst>
              <p:ext uri="{D42A27DB-BD31-4B8C-83A1-F6EECF244321}">
                <p14:modId xmlns:p14="http://schemas.microsoft.com/office/powerpoint/2010/main" val="3695260931"/>
              </p:ext>
            </p:extLst>
          </p:nvPr>
        </p:nvGraphicFramePr>
        <p:xfrm>
          <a:off x="465138" y="995363"/>
          <a:ext cx="8502650" cy="5694362"/>
        </p:xfrm>
        <a:graphic>
          <a:graphicData uri="http://schemas.openxmlformats.org/presentationml/2006/ole">
            <mc:AlternateContent xmlns:mc="http://schemas.openxmlformats.org/markup-compatibility/2006">
              <mc:Choice xmlns:v="urn:schemas-microsoft-com:vml" Requires="v">
                <p:oleObj spid="_x0000_s25672" name="Document" r:id="rId4" imgW="8672878" imgH="5826246" progId="Word.Document.8">
                  <p:embed/>
                </p:oleObj>
              </mc:Choice>
              <mc:Fallback>
                <p:oleObj name="Document" r:id="rId4" imgW="8672878" imgH="5826246" progId="Word.Document.8">
                  <p:embed/>
                  <p:pic>
                    <p:nvPicPr>
                      <p:cNvPr id="0" name=""/>
                      <p:cNvPicPr>
                        <a:picLocks noChangeAspect="1" noChangeArrowheads="1"/>
                      </p:cNvPicPr>
                      <p:nvPr/>
                    </p:nvPicPr>
                    <p:blipFill>
                      <a:blip r:embed="rId5"/>
                      <a:srcRect/>
                      <a:stretch>
                        <a:fillRect/>
                      </a:stretch>
                    </p:blipFill>
                    <p:spPr bwMode="auto">
                      <a:xfrm>
                        <a:off x="465138" y="995363"/>
                        <a:ext cx="8502650" cy="5694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8451" name="Text Box 3"/>
          <p:cNvSpPr txBox="1">
            <a:spLocks noChangeArrowheads="1"/>
          </p:cNvSpPr>
          <p:nvPr/>
        </p:nvSpPr>
        <p:spPr bwMode="auto">
          <a:xfrm>
            <a:off x="685800" y="381000"/>
            <a:ext cx="7924800" cy="461665"/>
          </a:xfrm>
          <a:prstGeom prst="rect">
            <a:avLst/>
          </a:prstGeom>
          <a:noFill/>
          <a:ln w="9525">
            <a:noFill/>
            <a:miter lim="800000"/>
            <a:headEnd/>
            <a:tailEnd/>
          </a:ln>
        </p:spPr>
        <p:txBody>
          <a:bodyPr>
            <a:spAutoFit/>
          </a:bodyPr>
          <a:lstStyle/>
          <a:p>
            <a:pPr eaLnBrk="0" hangingPunct="0">
              <a:spcBef>
                <a:spcPct val="50000"/>
              </a:spcBef>
            </a:pPr>
            <a:r>
              <a:rPr lang="en-GB" sz="2400" b="1" dirty="0" smtClean="0">
                <a:latin typeface="Times New Roman" pitchFamily="18" charset="0"/>
              </a:rPr>
              <a:t>Example facility microplan from India</a:t>
            </a:r>
            <a:endParaRPr lang="en-GB" sz="2000" dirty="0">
              <a:latin typeface="Times New Roman" pitchFamily="18" charset="0"/>
            </a:endParaRPr>
          </a:p>
        </p:txBody>
      </p:sp>
    </p:spTree>
    <p:extLst>
      <p:ext uri="{BB962C8B-B14F-4D97-AF65-F5344CB8AC3E}">
        <p14:creationId xmlns:p14="http://schemas.microsoft.com/office/powerpoint/2010/main" val="38113831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ChangeArrowheads="1"/>
          </p:cNvSpPr>
          <p:nvPr>
            <p:ph type="title"/>
          </p:nvPr>
        </p:nvSpPr>
        <p:spPr/>
        <p:txBody>
          <a:bodyPr>
            <a:normAutofit/>
          </a:bodyPr>
          <a:lstStyle/>
          <a:p>
            <a:r>
              <a:rPr lang="en-US" dirty="0" smtClean="0"/>
              <a:t>Example Workplan (India)</a:t>
            </a:r>
            <a:endParaRPr lang="en-US" dirty="0"/>
          </a:p>
        </p:txBody>
      </p:sp>
      <p:pic>
        <p:nvPicPr>
          <p:cNvPr id="105477" name="Picture 5"/>
          <p:cNvPicPr>
            <a:picLocks noGrp="1" noChangeAspect="1" noChangeArrowheads="1"/>
          </p:cNvPicPr>
          <p:nvPr>
            <p:ph idx="1"/>
          </p:nvPr>
        </p:nvPicPr>
        <p:blipFill>
          <a:blip r:embed="rId2" cstate="email">
            <a:extLst>
              <a:ext uri="{BEBA8EAE-BF5A-486C-A8C5-ECC9F3942E4B}">
                <a14:imgProps xmlns:a14="http://schemas.microsoft.com/office/drawing/2010/main">
                  <a14:imgLayer r:embed="rId3">
                    <a14:imgEffect>
                      <a14:brightnessContrast bright="40000" contrast="20000"/>
                    </a14:imgEffect>
                  </a14:imgLayer>
                </a14:imgProps>
              </a:ext>
            </a:extLst>
          </a:blip>
          <a:srcRect/>
          <a:stretch>
            <a:fillRect/>
          </a:stretch>
        </p:blipFill>
        <p:spPr bwMode="auto">
          <a:xfrm>
            <a:off x="1219200" y="1600200"/>
            <a:ext cx="6167437" cy="4625578"/>
          </a:xfrm>
          <a:prstGeom prst="rect">
            <a:avLst/>
          </a:prstGeom>
          <a:noFill/>
          <a:ln w="9525">
            <a:noFill/>
            <a:miter lim="800000"/>
            <a:headEnd/>
            <a:tailEnd/>
          </a:ln>
          <a:effectLst/>
        </p:spPr>
      </p:pic>
    </p:spTree>
    <p:extLst>
      <p:ext uri="{BB962C8B-B14F-4D97-AF65-F5344CB8AC3E}">
        <p14:creationId xmlns:p14="http://schemas.microsoft.com/office/powerpoint/2010/main" val="36352032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ext Box 3"/>
          <p:cNvSpPr txBox="1">
            <a:spLocks noChangeArrowheads="1"/>
          </p:cNvSpPr>
          <p:nvPr/>
        </p:nvSpPr>
        <p:spPr bwMode="auto">
          <a:xfrm>
            <a:off x="6038850" y="1295400"/>
            <a:ext cx="2647950" cy="923330"/>
          </a:xfrm>
          <a:prstGeom prst="rect">
            <a:avLst/>
          </a:prstGeom>
          <a:noFill/>
          <a:ln w="9525">
            <a:solidFill>
              <a:schemeClr val="accent2"/>
            </a:solidFill>
            <a:miter lim="800000"/>
            <a:headEnd/>
            <a:tailEnd/>
          </a:ln>
        </p:spPr>
        <p:txBody>
          <a:bodyPr wrap="square">
            <a:spAutoFit/>
          </a:bodyPr>
          <a:lstStyle/>
          <a:p>
            <a:pPr algn="ctr" eaLnBrk="0" hangingPunct="0">
              <a:spcBef>
                <a:spcPct val="50000"/>
              </a:spcBef>
            </a:pPr>
            <a:r>
              <a:rPr lang="en-GB" dirty="0" smtClean="0">
                <a:latin typeface="Calibri" pitchFamily="34" charset="0"/>
              </a:rPr>
              <a:t>Catchment area: service delivery area assigned to facility </a:t>
            </a:r>
            <a:endParaRPr lang="en-GB" dirty="0">
              <a:latin typeface="Calibri" pitchFamily="34" charset="0"/>
            </a:endParaRPr>
          </a:p>
        </p:txBody>
      </p:sp>
      <p:pic>
        <p:nvPicPr>
          <p:cNvPr id="94211" name="Picture 4"/>
          <p:cNvPicPr>
            <a:picLocks noChangeAspect="1" noChangeArrowheads="1"/>
          </p:cNvPicPr>
          <p:nvPr/>
        </p:nvPicPr>
        <p:blipFill>
          <a:blip r:embed="rId2"/>
          <a:srcRect/>
          <a:stretch>
            <a:fillRect/>
          </a:stretch>
        </p:blipFill>
        <p:spPr bwMode="auto">
          <a:xfrm>
            <a:off x="368474" y="990600"/>
            <a:ext cx="5346526" cy="5690847"/>
          </a:xfrm>
          <a:prstGeom prst="rect">
            <a:avLst/>
          </a:prstGeom>
          <a:noFill/>
          <a:ln w="9525">
            <a:noFill/>
            <a:miter lim="800000"/>
            <a:headEnd/>
            <a:tailEnd/>
          </a:ln>
        </p:spPr>
      </p:pic>
      <p:sp>
        <p:nvSpPr>
          <p:cNvPr id="4" name="Title 1"/>
          <p:cNvSpPr txBox="1">
            <a:spLocks/>
          </p:cNvSpPr>
          <p:nvPr/>
        </p:nvSpPr>
        <p:spPr>
          <a:xfrm>
            <a:off x="457200" y="274638"/>
            <a:ext cx="822960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dirty="0" smtClean="0"/>
              <a:t>Planning: Catchment Area Map</a:t>
            </a:r>
          </a:p>
        </p:txBody>
      </p:sp>
      <p:sp>
        <p:nvSpPr>
          <p:cNvPr id="5" name="Text Box 3"/>
          <p:cNvSpPr txBox="1">
            <a:spLocks noChangeArrowheads="1"/>
          </p:cNvSpPr>
          <p:nvPr/>
        </p:nvSpPr>
        <p:spPr bwMode="auto">
          <a:xfrm>
            <a:off x="6038850" y="2282224"/>
            <a:ext cx="2647950" cy="923330"/>
          </a:xfrm>
          <a:prstGeom prst="rect">
            <a:avLst/>
          </a:prstGeom>
          <a:noFill/>
          <a:ln w="9525">
            <a:solidFill>
              <a:schemeClr val="accent2"/>
            </a:solidFill>
            <a:miter lim="800000"/>
            <a:headEnd/>
            <a:tailEnd/>
          </a:ln>
        </p:spPr>
        <p:txBody>
          <a:bodyPr wrap="square">
            <a:spAutoFit/>
          </a:bodyPr>
          <a:lstStyle/>
          <a:p>
            <a:pPr eaLnBrk="0" hangingPunct="0">
              <a:spcBef>
                <a:spcPct val="50000"/>
              </a:spcBef>
            </a:pPr>
            <a:r>
              <a:rPr lang="en-GB" dirty="0" smtClean="0">
                <a:latin typeface="Calibri" pitchFamily="34" charset="0"/>
              </a:rPr>
              <a:t>Maps created by vaccinators and district focal points</a:t>
            </a:r>
            <a:endParaRPr lang="en-GB" dirty="0">
              <a:latin typeface="Calibri" pitchFamily="34" charset="0"/>
            </a:endParaRPr>
          </a:p>
        </p:txBody>
      </p:sp>
      <p:sp>
        <p:nvSpPr>
          <p:cNvPr id="6" name="Text Box 3"/>
          <p:cNvSpPr txBox="1">
            <a:spLocks noChangeArrowheads="1"/>
          </p:cNvSpPr>
          <p:nvPr/>
        </p:nvSpPr>
        <p:spPr bwMode="auto">
          <a:xfrm>
            <a:off x="6038850" y="3251716"/>
            <a:ext cx="2647950" cy="3277820"/>
          </a:xfrm>
          <a:prstGeom prst="rect">
            <a:avLst/>
          </a:prstGeom>
          <a:noFill/>
          <a:ln w="9525">
            <a:solidFill>
              <a:schemeClr val="accent2"/>
            </a:solidFill>
            <a:miter lim="800000"/>
            <a:headEnd/>
            <a:tailEnd/>
          </a:ln>
        </p:spPr>
        <p:txBody>
          <a:bodyPr wrap="square">
            <a:spAutoFit/>
          </a:bodyPr>
          <a:lstStyle/>
          <a:p>
            <a:pPr eaLnBrk="0" hangingPunct="0">
              <a:spcBef>
                <a:spcPct val="50000"/>
              </a:spcBef>
            </a:pPr>
            <a:r>
              <a:rPr lang="en-GB" dirty="0" smtClean="0">
                <a:latin typeface="Calibri" pitchFamily="34" charset="0"/>
              </a:rPr>
              <a:t>Maps should include</a:t>
            </a:r>
          </a:p>
          <a:p>
            <a:pPr marL="342900" indent="-342900" eaLnBrk="0" hangingPunct="0">
              <a:spcBef>
                <a:spcPct val="50000"/>
              </a:spcBef>
              <a:buFont typeface="Arial" pitchFamily="34" charset="0"/>
              <a:buChar char="•"/>
            </a:pPr>
            <a:r>
              <a:rPr lang="en-GB" dirty="0" smtClean="0">
                <a:latin typeface="Calibri" pitchFamily="34" charset="0"/>
              </a:rPr>
              <a:t>Health facility location</a:t>
            </a:r>
          </a:p>
          <a:p>
            <a:pPr marL="342900" indent="-342900" eaLnBrk="0" hangingPunct="0">
              <a:spcBef>
                <a:spcPct val="50000"/>
              </a:spcBef>
              <a:buFont typeface="Arial" pitchFamily="34" charset="0"/>
              <a:buChar char="•"/>
            </a:pPr>
            <a:r>
              <a:rPr lang="en-GB" dirty="0" smtClean="0">
                <a:latin typeface="Calibri" pitchFamily="34" charset="0"/>
              </a:rPr>
              <a:t>Village locations, population, distance from HF</a:t>
            </a:r>
          </a:p>
          <a:p>
            <a:pPr marL="342900" indent="-342900" eaLnBrk="0" hangingPunct="0">
              <a:spcBef>
                <a:spcPct val="50000"/>
              </a:spcBef>
              <a:buFont typeface="Arial" pitchFamily="34" charset="0"/>
              <a:buChar char="•"/>
            </a:pPr>
            <a:r>
              <a:rPr lang="en-GB" dirty="0" smtClean="0">
                <a:latin typeface="Calibri" pitchFamily="34" charset="0"/>
              </a:rPr>
              <a:t>Session type for village</a:t>
            </a:r>
          </a:p>
          <a:p>
            <a:pPr marL="342900" indent="-342900" eaLnBrk="0" hangingPunct="0">
              <a:spcBef>
                <a:spcPct val="50000"/>
              </a:spcBef>
              <a:buFont typeface="Arial" pitchFamily="34" charset="0"/>
              <a:buChar char="•"/>
            </a:pPr>
            <a:r>
              <a:rPr lang="en-GB" dirty="0" smtClean="0">
                <a:latin typeface="Calibri" pitchFamily="34" charset="0"/>
              </a:rPr>
              <a:t>Cold chain storage points</a:t>
            </a:r>
          </a:p>
          <a:p>
            <a:pPr marL="342900" indent="-342900" eaLnBrk="0" hangingPunct="0">
              <a:spcBef>
                <a:spcPct val="50000"/>
              </a:spcBef>
              <a:buFont typeface="Arial" pitchFamily="34" charset="0"/>
              <a:buChar char="•"/>
            </a:pPr>
            <a:r>
              <a:rPr lang="en-GB" dirty="0" smtClean="0">
                <a:latin typeface="Calibri" pitchFamily="34" charset="0"/>
              </a:rPr>
              <a:t>Major area barriers</a:t>
            </a:r>
            <a:endParaRPr lang="en-GB" dirty="0">
              <a:latin typeface="Calibri" pitchFamily="34" charset="0"/>
            </a:endParaRPr>
          </a:p>
        </p:txBody>
      </p:sp>
    </p:spTree>
    <p:extLst>
      <p:ext uri="{BB962C8B-B14F-4D97-AF65-F5344CB8AC3E}">
        <p14:creationId xmlns:p14="http://schemas.microsoft.com/office/powerpoint/2010/main" val="14650632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Title 1"/>
          <p:cNvSpPr>
            <a:spLocks noGrp="1"/>
          </p:cNvSpPr>
          <p:nvPr>
            <p:ph type="title"/>
          </p:nvPr>
        </p:nvSpPr>
        <p:spPr>
          <a:xfrm>
            <a:off x="457200" y="152400"/>
            <a:ext cx="8229600" cy="1143000"/>
          </a:xfrm>
        </p:spPr>
        <p:txBody>
          <a:bodyPr>
            <a:noAutofit/>
          </a:bodyPr>
          <a:lstStyle/>
          <a:p>
            <a:r>
              <a:rPr lang="en-US" sz="3200" dirty="0" smtClean="0"/>
              <a:t>Example: Catchment map from Liberia</a:t>
            </a:r>
          </a:p>
        </p:txBody>
      </p:sp>
      <p:sp>
        <p:nvSpPr>
          <p:cNvPr id="96258" name="Content Placeholder 2"/>
          <p:cNvSpPr>
            <a:spLocks noGrp="1"/>
          </p:cNvSpPr>
          <p:nvPr>
            <p:ph idx="1"/>
          </p:nvPr>
        </p:nvSpPr>
        <p:spPr/>
        <p:txBody>
          <a:bodyPr/>
          <a:lstStyle/>
          <a:p>
            <a:endParaRPr lang="en-US" smtClean="0"/>
          </a:p>
        </p:txBody>
      </p:sp>
      <p:pic>
        <p:nvPicPr>
          <p:cNvPr id="96259" name="Picture 2" descr="E:\201202\201202A0\02092012378.jpg"/>
          <p:cNvPicPr>
            <a:picLocks noChangeAspect="1" noChangeArrowheads="1"/>
          </p:cNvPicPr>
          <p:nvPr/>
        </p:nvPicPr>
        <p:blipFill>
          <a:blip r:embed="rId2" cstate="email">
            <a:extLst>
              <a:ext uri="{28A0092B-C50C-407E-A947-70E740481C1C}">
                <a14:useLocalDpi xmlns:a14="http://schemas.microsoft.com/office/drawing/2010/main"/>
              </a:ext>
            </a:extLst>
          </a:blip>
          <a:srcRect l="-4803"/>
          <a:stretch>
            <a:fillRect/>
          </a:stretch>
        </p:blipFill>
        <p:spPr bwMode="auto">
          <a:xfrm>
            <a:off x="-114300" y="1219200"/>
            <a:ext cx="9144000" cy="5562600"/>
          </a:xfrm>
          <a:prstGeom prst="rect">
            <a:avLst/>
          </a:prstGeom>
          <a:noFill/>
          <a:ln w="9525">
            <a:noFill/>
            <a:miter lim="800000"/>
            <a:headEnd/>
            <a:tailEnd/>
          </a:ln>
        </p:spPr>
      </p:pic>
    </p:spTree>
    <p:extLst>
      <p:ext uri="{BB962C8B-B14F-4D97-AF65-F5344CB8AC3E}">
        <p14:creationId xmlns:p14="http://schemas.microsoft.com/office/powerpoint/2010/main" val="54562797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Target population</a:t>
            </a:r>
            <a:endParaRPr lang="en-US" b="1" dirty="0"/>
          </a:p>
        </p:txBody>
      </p:sp>
      <p:sp>
        <p:nvSpPr>
          <p:cNvPr id="4" name="Content Placeholder 3"/>
          <p:cNvSpPr>
            <a:spLocks noGrp="1"/>
          </p:cNvSpPr>
          <p:nvPr>
            <p:ph idx="1"/>
          </p:nvPr>
        </p:nvSpPr>
        <p:spPr/>
        <p:txBody>
          <a:bodyPr>
            <a:normAutofit fontScale="85000" lnSpcReduction="10000"/>
          </a:bodyPr>
          <a:lstStyle/>
          <a:p>
            <a:r>
              <a:rPr lang="en-US" sz="3300" b="1" dirty="0" smtClean="0"/>
              <a:t>Defined as population which should receive all vaccines listed in country’s immunization schedule</a:t>
            </a:r>
          </a:p>
          <a:p>
            <a:r>
              <a:rPr lang="en-US" sz="3300" b="1" dirty="0" smtClean="0"/>
              <a:t>Set by country’s immunization policy (EPI </a:t>
            </a:r>
            <a:r>
              <a:rPr lang="en-US" sz="3300" b="1" dirty="0"/>
              <a:t>target age group often is children &lt;1 of </a:t>
            </a:r>
            <a:r>
              <a:rPr lang="en-US" sz="3300" b="1" dirty="0" smtClean="0"/>
              <a:t>age)</a:t>
            </a:r>
            <a:endParaRPr lang="en-US" sz="3300" b="1" dirty="0"/>
          </a:p>
          <a:p>
            <a:r>
              <a:rPr lang="en-US" sz="3300" b="1" dirty="0" smtClean="0"/>
              <a:t>Source usually from census data</a:t>
            </a:r>
          </a:p>
          <a:p>
            <a:pPr lvl="1"/>
            <a:r>
              <a:rPr lang="en-US" b="1" dirty="0" smtClean="0"/>
              <a:t>Some locations may conduct local headcounts when census data is considered inaccurate</a:t>
            </a:r>
          </a:p>
          <a:p>
            <a:r>
              <a:rPr lang="en-US" sz="3300" b="1" dirty="0" smtClean="0"/>
              <a:t>Population numbers given to district, facility health staff to use for </a:t>
            </a:r>
          </a:p>
          <a:p>
            <a:pPr lvl="1"/>
            <a:r>
              <a:rPr lang="en-US" b="1" dirty="0" smtClean="0"/>
              <a:t>ordering vaccines, monitoring program performance and planning sessions</a:t>
            </a:r>
          </a:p>
          <a:p>
            <a:pPr lvl="1"/>
            <a:endParaRPr lang="en-US" b="1" dirty="0"/>
          </a:p>
        </p:txBody>
      </p:sp>
    </p:spTree>
    <p:extLst>
      <p:ext uri="{BB962C8B-B14F-4D97-AF65-F5344CB8AC3E}">
        <p14:creationId xmlns:p14="http://schemas.microsoft.com/office/powerpoint/2010/main" val="40583492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fontAlgn="auto">
              <a:spcAft>
                <a:spcPts val="0"/>
              </a:spcAft>
              <a:defRPr/>
            </a:pPr>
            <a:r>
              <a:rPr lang="en-US" b="1" dirty="0" smtClean="0"/>
              <a:t>Supervision</a:t>
            </a:r>
            <a:endParaRPr lang="en-US" b="1" dirty="0"/>
          </a:p>
        </p:txBody>
      </p:sp>
      <p:sp>
        <p:nvSpPr>
          <p:cNvPr id="97282" name="Content Placeholder 2"/>
          <p:cNvSpPr>
            <a:spLocks noGrp="1"/>
          </p:cNvSpPr>
          <p:nvPr>
            <p:ph idx="1"/>
          </p:nvPr>
        </p:nvSpPr>
        <p:spPr>
          <a:xfrm>
            <a:off x="457200" y="1600200"/>
            <a:ext cx="8610600" cy="4525963"/>
          </a:xfrm>
        </p:spPr>
        <p:txBody>
          <a:bodyPr>
            <a:noAutofit/>
          </a:bodyPr>
          <a:lstStyle/>
          <a:p>
            <a:r>
              <a:rPr lang="en-US" sz="2800" b="1" dirty="0" smtClean="0"/>
              <a:t>Common national and district activity to ensure RI services are functioning</a:t>
            </a:r>
          </a:p>
          <a:p>
            <a:r>
              <a:rPr lang="en-US" sz="2800" b="1" dirty="0" smtClean="0"/>
              <a:t>Objective: provide </a:t>
            </a:r>
            <a:r>
              <a:rPr lang="en-US" sz="2800" b="1" dirty="0"/>
              <a:t>constructive feedback </a:t>
            </a:r>
            <a:r>
              <a:rPr lang="en-US" sz="2800" b="1" dirty="0" smtClean="0"/>
              <a:t>on </a:t>
            </a:r>
            <a:r>
              <a:rPr lang="en-US" sz="2800" b="1" dirty="0"/>
              <a:t>performance and help remedy problems</a:t>
            </a:r>
          </a:p>
          <a:p>
            <a:r>
              <a:rPr lang="en-US" sz="2800" b="1" dirty="0"/>
              <a:t>C</a:t>
            </a:r>
            <a:r>
              <a:rPr lang="en-US" sz="2800" b="1" dirty="0" smtClean="0"/>
              <a:t>ommonly involves checklist to cover all aspects of EPI</a:t>
            </a:r>
          </a:p>
          <a:p>
            <a:pPr marL="0" indent="0">
              <a:buNone/>
            </a:pPr>
            <a:endParaRPr lang="en-US" sz="2800" b="1" dirty="0" smtClean="0"/>
          </a:p>
          <a:p>
            <a:endParaRPr lang="en-US" sz="2800" b="1" dirty="0" smtClean="0"/>
          </a:p>
        </p:txBody>
      </p:sp>
    </p:spTree>
    <p:extLst>
      <p:ext uri="{BB962C8B-B14F-4D97-AF65-F5344CB8AC3E}">
        <p14:creationId xmlns:p14="http://schemas.microsoft.com/office/powerpoint/2010/main" val="11685784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Title 1"/>
          <p:cNvSpPr>
            <a:spLocks noGrp="1"/>
          </p:cNvSpPr>
          <p:nvPr>
            <p:ph type="title"/>
          </p:nvPr>
        </p:nvSpPr>
        <p:spPr/>
        <p:txBody>
          <a:bodyPr>
            <a:normAutofit fontScale="90000"/>
          </a:bodyPr>
          <a:lstStyle/>
          <a:p>
            <a:r>
              <a:rPr lang="en-US" b="1" dirty="0" smtClean="0"/>
              <a:t>Supervision </a:t>
            </a:r>
            <a:r>
              <a:rPr lang="en-US" b="1" dirty="0"/>
              <a:t>c</a:t>
            </a:r>
            <a:r>
              <a:rPr lang="en-US" b="1" dirty="0" smtClean="0"/>
              <a:t>hecklist often used to guide the supervision visit</a:t>
            </a:r>
          </a:p>
        </p:txBody>
      </p:sp>
      <p:pic>
        <p:nvPicPr>
          <p:cNvPr id="98307" name="Picture 4"/>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b="33720"/>
          <a:stretch/>
        </p:blipFill>
        <p:spPr bwMode="auto">
          <a:xfrm>
            <a:off x="1492250" y="1600200"/>
            <a:ext cx="6121400" cy="5257800"/>
          </a:xfrm>
          <a:prstGeom prst="rect">
            <a:avLst/>
          </a:prstGeom>
          <a:noFill/>
          <a:ln w="9525">
            <a:noFill/>
            <a:miter lim="800000"/>
            <a:headEnd/>
            <a:tailEnd/>
          </a:ln>
        </p:spPr>
      </p:pic>
    </p:spTree>
    <p:extLst>
      <p:ext uri="{BB962C8B-B14F-4D97-AF65-F5344CB8AC3E}">
        <p14:creationId xmlns:p14="http://schemas.microsoft.com/office/powerpoint/2010/main" val="195907442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Title 1"/>
          <p:cNvSpPr>
            <a:spLocks noGrp="1"/>
          </p:cNvSpPr>
          <p:nvPr>
            <p:ph type="title"/>
          </p:nvPr>
        </p:nvSpPr>
        <p:spPr/>
        <p:txBody>
          <a:bodyPr>
            <a:normAutofit fontScale="90000"/>
          </a:bodyPr>
          <a:lstStyle/>
          <a:p>
            <a:r>
              <a:rPr lang="en-US" b="1" dirty="0" smtClean="0"/>
              <a:t>Supervision </a:t>
            </a:r>
            <a:r>
              <a:rPr lang="en-US" b="1" dirty="0"/>
              <a:t>c</a:t>
            </a:r>
            <a:r>
              <a:rPr lang="en-US" b="1" dirty="0" smtClean="0"/>
              <a:t>hecklist often used to guide the supervision visit</a:t>
            </a:r>
          </a:p>
        </p:txBody>
      </p:sp>
      <p:pic>
        <p:nvPicPr>
          <p:cNvPr id="98307" name="Picture 4"/>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t="64815"/>
          <a:stretch/>
        </p:blipFill>
        <p:spPr bwMode="auto">
          <a:xfrm>
            <a:off x="1466419" y="1828800"/>
            <a:ext cx="6121400" cy="2791175"/>
          </a:xfrm>
          <a:prstGeom prst="rect">
            <a:avLst/>
          </a:prstGeom>
          <a:noFill/>
          <a:ln w="9525">
            <a:noFill/>
            <a:miter lim="800000"/>
            <a:headEnd/>
            <a:tailEnd/>
          </a:ln>
        </p:spPr>
      </p:pic>
    </p:spTree>
    <p:extLst>
      <p:ext uri="{BB962C8B-B14F-4D97-AF65-F5344CB8AC3E}">
        <p14:creationId xmlns:p14="http://schemas.microsoft.com/office/powerpoint/2010/main" val="36356808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fontAlgn="auto">
              <a:spcAft>
                <a:spcPts val="0"/>
              </a:spcAft>
              <a:defRPr/>
            </a:pPr>
            <a:r>
              <a:rPr lang="en-US" b="1" dirty="0" smtClean="0"/>
              <a:t>Supervision</a:t>
            </a:r>
            <a:endParaRPr lang="en-US" b="1" dirty="0"/>
          </a:p>
        </p:txBody>
      </p:sp>
      <p:sp>
        <p:nvSpPr>
          <p:cNvPr id="97282" name="Content Placeholder 2"/>
          <p:cNvSpPr>
            <a:spLocks noGrp="1"/>
          </p:cNvSpPr>
          <p:nvPr>
            <p:ph idx="1"/>
          </p:nvPr>
        </p:nvSpPr>
        <p:spPr>
          <a:xfrm>
            <a:off x="457200" y="1600200"/>
            <a:ext cx="8610600" cy="4525963"/>
          </a:xfrm>
        </p:spPr>
        <p:txBody>
          <a:bodyPr>
            <a:noAutofit/>
          </a:bodyPr>
          <a:lstStyle/>
          <a:p>
            <a:r>
              <a:rPr lang="en-US" sz="2800" b="1" dirty="0" smtClean="0"/>
              <a:t>District to facility supervision</a:t>
            </a:r>
          </a:p>
          <a:p>
            <a:pPr lvl="1"/>
            <a:r>
              <a:rPr lang="en-US" sz="2400" b="1" dirty="0" smtClean="0"/>
              <a:t>District visits facility EPI staff every few months</a:t>
            </a:r>
          </a:p>
          <a:p>
            <a:pPr lvl="1"/>
            <a:r>
              <a:rPr lang="en-US" sz="2400" b="1" dirty="0" smtClean="0"/>
              <a:t>District may also hold monthly/quarterly meetings of facility staff at district office</a:t>
            </a:r>
          </a:p>
          <a:p>
            <a:r>
              <a:rPr lang="en-US" sz="2800" b="1" dirty="0" smtClean="0"/>
              <a:t>National </a:t>
            </a:r>
            <a:r>
              <a:rPr lang="en-US" sz="2800" b="1" dirty="0"/>
              <a:t>to </a:t>
            </a:r>
            <a:r>
              <a:rPr lang="en-US" sz="2800" b="1" dirty="0" smtClean="0"/>
              <a:t>district supervision</a:t>
            </a:r>
          </a:p>
          <a:p>
            <a:pPr lvl="1"/>
            <a:r>
              <a:rPr lang="en-US" sz="2400" b="1" dirty="0" smtClean="0"/>
              <a:t>National level staff from MoH, partners (WHO, UNICEF) visit district health teams</a:t>
            </a:r>
          </a:p>
          <a:p>
            <a:r>
              <a:rPr lang="en-US" sz="2800" b="1" dirty="0" smtClean="0"/>
              <a:t>Feedback to supervisee</a:t>
            </a:r>
          </a:p>
          <a:p>
            <a:pPr lvl="1"/>
            <a:r>
              <a:rPr lang="en-US" sz="2400" b="1" dirty="0" smtClean="0"/>
              <a:t>Written (preferred) in supervisory ledger or just verbal</a:t>
            </a:r>
          </a:p>
          <a:p>
            <a:pPr lvl="1"/>
            <a:r>
              <a:rPr lang="en-US" sz="2400" b="1" dirty="0" smtClean="0"/>
              <a:t>Copy of supervisory checklist results may be left with vaccinator</a:t>
            </a:r>
          </a:p>
          <a:p>
            <a:pPr lvl="1"/>
            <a:r>
              <a:rPr lang="en-US" sz="2400" b="1" dirty="0"/>
              <a:t>Feedback </a:t>
            </a:r>
            <a:r>
              <a:rPr lang="en-US" sz="2400" b="1" dirty="0" smtClean="0"/>
              <a:t>should be </a:t>
            </a:r>
            <a:r>
              <a:rPr lang="en-US" sz="2400" b="1" dirty="0"/>
              <a:t>followed up in next visit</a:t>
            </a:r>
          </a:p>
          <a:p>
            <a:pPr marL="0" indent="0">
              <a:buNone/>
            </a:pPr>
            <a:endParaRPr lang="en-US" sz="2800" b="1" dirty="0" smtClean="0"/>
          </a:p>
          <a:p>
            <a:endParaRPr lang="en-US" sz="2800" b="1" dirty="0" smtClean="0"/>
          </a:p>
        </p:txBody>
      </p:sp>
    </p:spTree>
    <p:extLst>
      <p:ext uri="{BB962C8B-B14F-4D97-AF65-F5344CB8AC3E}">
        <p14:creationId xmlns:p14="http://schemas.microsoft.com/office/powerpoint/2010/main" val="8206177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rtlCol="0">
            <a:normAutofit/>
          </a:bodyPr>
          <a:lstStyle/>
          <a:p>
            <a:pPr fontAlgn="auto">
              <a:spcAft>
                <a:spcPts val="0"/>
              </a:spcAft>
              <a:defRPr/>
            </a:pPr>
            <a:r>
              <a:rPr lang="en-US" dirty="0" smtClean="0"/>
              <a:t>Vaccine Supply &amp; Quality</a:t>
            </a:r>
            <a:endParaRPr lang="en-US" dirty="0"/>
          </a:p>
        </p:txBody>
      </p:sp>
      <p:sp>
        <p:nvSpPr>
          <p:cNvPr id="5" name="Text Placeholder 4"/>
          <p:cNvSpPr>
            <a:spLocks noGrp="1"/>
          </p:cNvSpPr>
          <p:nvPr>
            <p:ph type="body" idx="1"/>
          </p:nvPr>
        </p:nvSpPr>
        <p:spPr/>
        <p:txBody>
          <a:bodyPr rtlCol="0">
            <a:normAutofit/>
          </a:bodyPr>
          <a:lstStyle/>
          <a:p>
            <a:pPr fontAlgn="auto">
              <a:spcAft>
                <a:spcPts val="0"/>
              </a:spcAft>
              <a:buFont typeface="Arial" pitchFamily="34" charset="0"/>
              <a:buNone/>
              <a:defRPr/>
            </a:pPr>
            <a:r>
              <a:rPr lang="en-US" dirty="0" smtClean="0"/>
              <a:t>Cold chain, Injection safety, waste management, vaccine management</a:t>
            </a:r>
            <a:endParaRPr lang="en-US" dirty="0"/>
          </a:p>
        </p:txBody>
      </p:sp>
    </p:spTree>
    <p:extLst>
      <p:ext uri="{BB962C8B-B14F-4D97-AF65-F5344CB8AC3E}">
        <p14:creationId xmlns:p14="http://schemas.microsoft.com/office/powerpoint/2010/main" val="42080218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Table Placeholder 5"/>
          <p:cNvPicPr>
            <a:picLocks noGrp="1"/>
          </p:cNvPicPr>
          <p:nvPr>
            <p:ph type="tbl" idx="1"/>
          </p:nvPr>
        </p:nvPicPr>
        <p:blipFill rotWithShape="1">
          <a:blip r:embed="rId2"/>
          <a:srcRect t="10367" r="56090"/>
          <a:stretch/>
        </p:blipFill>
        <p:spPr bwMode="auto">
          <a:xfrm>
            <a:off x="457200" y="117475"/>
            <a:ext cx="8458200" cy="67405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99957661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p:cNvSpPr>
            <a:spLocks noGrp="1"/>
          </p:cNvSpPr>
          <p:nvPr>
            <p:ph type="title"/>
          </p:nvPr>
        </p:nvSpPr>
        <p:spPr/>
        <p:txBody>
          <a:bodyPr/>
          <a:lstStyle/>
          <a:p>
            <a:r>
              <a:rPr lang="en-US" b="1" dirty="0" smtClean="0"/>
              <a:t>Routine Vaccine Forecasting</a:t>
            </a:r>
          </a:p>
        </p:txBody>
      </p:sp>
      <p:sp>
        <p:nvSpPr>
          <p:cNvPr id="3" name="Content Placeholder 2"/>
          <p:cNvSpPr>
            <a:spLocks noGrp="1"/>
          </p:cNvSpPr>
          <p:nvPr>
            <p:ph idx="1"/>
          </p:nvPr>
        </p:nvSpPr>
        <p:spPr>
          <a:xfrm>
            <a:off x="457200" y="1600200"/>
            <a:ext cx="8229600" cy="5257800"/>
          </a:xfrm>
        </p:spPr>
        <p:txBody>
          <a:bodyPr rtlCol="0">
            <a:normAutofit fontScale="70000" lnSpcReduction="20000"/>
          </a:bodyPr>
          <a:lstStyle/>
          <a:p>
            <a:pPr fontAlgn="auto">
              <a:spcAft>
                <a:spcPts val="0"/>
              </a:spcAft>
              <a:buFont typeface="Arial" pitchFamily="34" charset="0"/>
              <a:buChar char="•"/>
              <a:defRPr/>
            </a:pPr>
            <a:r>
              <a:rPr lang="en-US" sz="3600" b="1" dirty="0" smtClean="0"/>
              <a:t>All levels (facility, district, national) forecast the number of doses required for each antigen during specific time period</a:t>
            </a:r>
          </a:p>
          <a:p>
            <a:pPr fontAlgn="auto">
              <a:spcAft>
                <a:spcPts val="0"/>
              </a:spcAft>
              <a:buFont typeface="Arial" pitchFamily="34" charset="0"/>
              <a:buChar char="•"/>
              <a:defRPr/>
            </a:pPr>
            <a:r>
              <a:rPr lang="en-US" sz="3600" b="1" dirty="0" smtClean="0"/>
              <a:t>Forecasted number used when requesting RI doses from next higher level</a:t>
            </a:r>
            <a:endParaRPr lang="en-US" sz="3600" b="1" dirty="0"/>
          </a:p>
          <a:p>
            <a:pPr fontAlgn="auto">
              <a:spcAft>
                <a:spcPts val="0"/>
              </a:spcAft>
              <a:buFont typeface="Arial" pitchFamily="34" charset="0"/>
              <a:buChar char="•"/>
              <a:defRPr/>
            </a:pPr>
            <a:r>
              <a:rPr lang="en-US" sz="3600" b="1" dirty="0" smtClean="0"/>
              <a:t>Vaccine forecast based on:</a:t>
            </a:r>
          </a:p>
          <a:p>
            <a:pPr lvl="1" fontAlgn="auto">
              <a:spcAft>
                <a:spcPts val="0"/>
              </a:spcAft>
              <a:buFont typeface="Arial" pitchFamily="34" charset="0"/>
              <a:buChar char="–"/>
              <a:defRPr/>
            </a:pPr>
            <a:r>
              <a:rPr lang="en-US" sz="3400" b="1" dirty="0" smtClean="0"/>
              <a:t>Target population</a:t>
            </a:r>
          </a:p>
          <a:p>
            <a:pPr lvl="1" fontAlgn="auto">
              <a:spcAft>
                <a:spcPts val="0"/>
              </a:spcAft>
              <a:buFont typeface="Arial" pitchFamily="34" charset="0"/>
              <a:buChar char="–"/>
              <a:defRPr/>
            </a:pPr>
            <a:r>
              <a:rPr lang="en-US" sz="3400" b="1" dirty="0" smtClean="0"/>
              <a:t>Wastage factor based on endorsed vaccine wastage rate  </a:t>
            </a:r>
          </a:p>
          <a:p>
            <a:pPr lvl="2">
              <a:buFont typeface="Arial" pitchFamily="34" charset="0"/>
              <a:buChar char="–"/>
              <a:defRPr/>
            </a:pPr>
            <a:r>
              <a:rPr lang="en-US" sz="2900" b="1" dirty="0" smtClean="0"/>
              <a:t>“Wastage” is any dose not used to vaccinate a targeted person</a:t>
            </a:r>
          </a:p>
          <a:p>
            <a:pPr lvl="2">
              <a:buFont typeface="Arial" pitchFamily="34" charset="0"/>
              <a:buChar char="–"/>
              <a:defRPr/>
            </a:pPr>
            <a:r>
              <a:rPr lang="en-US" sz="2900" b="1" dirty="0" smtClean="0"/>
              <a:t>Countries set acceptable wastage rates e.g. the proportion of a vial which can be wasted due to various reason</a:t>
            </a:r>
          </a:p>
          <a:p>
            <a:pPr lvl="2">
              <a:buFont typeface="Arial" pitchFamily="34" charset="0"/>
              <a:buChar char="–"/>
              <a:defRPr/>
            </a:pPr>
            <a:r>
              <a:rPr lang="en-US" sz="2900" b="1" dirty="0" smtClean="0"/>
              <a:t>Measles, BCG, YF forecasts often </a:t>
            </a:r>
            <a:r>
              <a:rPr lang="en-US" sz="2900" b="1" dirty="0"/>
              <a:t>use rates between 35-50</a:t>
            </a:r>
            <a:r>
              <a:rPr lang="en-US" sz="2900" b="1" dirty="0" smtClean="0"/>
              <a:t>%</a:t>
            </a:r>
          </a:p>
          <a:p>
            <a:pPr lvl="2">
              <a:buFont typeface="Arial" pitchFamily="34" charset="0"/>
              <a:buChar char="–"/>
              <a:defRPr/>
            </a:pPr>
            <a:r>
              <a:rPr lang="en-US" sz="2900" b="1" dirty="0" smtClean="0"/>
              <a:t>Pentavalent, Polio forecasts often use rates between 10%-30%</a:t>
            </a:r>
          </a:p>
          <a:p>
            <a:pPr lvl="2">
              <a:buFont typeface="Arial" pitchFamily="34" charset="0"/>
              <a:buChar char="–"/>
              <a:defRPr/>
            </a:pPr>
            <a:r>
              <a:rPr lang="en-US" sz="2900" b="1" dirty="0" smtClean="0"/>
              <a:t>Vaccine wastage factor formula = 100% / (100% – wastage rate)</a:t>
            </a:r>
          </a:p>
        </p:txBody>
      </p:sp>
    </p:spTree>
    <p:extLst>
      <p:ext uri="{BB962C8B-B14F-4D97-AF65-F5344CB8AC3E}">
        <p14:creationId xmlns:p14="http://schemas.microsoft.com/office/powerpoint/2010/main" val="5809419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143000"/>
          </a:xfrm>
        </p:spPr>
        <p:txBody>
          <a:bodyPr>
            <a:noAutofit/>
          </a:bodyPr>
          <a:lstStyle/>
          <a:p>
            <a:r>
              <a:rPr lang="en-US" b="1" dirty="0" smtClean="0"/>
              <a:t>Reasons for Wastage</a:t>
            </a:r>
            <a:endParaRPr lang="en-US" b="1" dirty="0"/>
          </a:p>
        </p:txBody>
      </p:sp>
      <p:graphicFrame>
        <p:nvGraphicFramePr>
          <p:cNvPr id="10" name="Content Placeholder 5"/>
          <p:cNvGraphicFramePr>
            <a:graphicFrameLocks noGrp="1"/>
          </p:cNvGraphicFramePr>
          <p:nvPr>
            <p:ph sz="quarter" idx="2"/>
            <p:extLst>
              <p:ext uri="{D42A27DB-BD31-4B8C-83A1-F6EECF244321}">
                <p14:modId xmlns:p14="http://schemas.microsoft.com/office/powerpoint/2010/main" val="2754118108"/>
              </p:ext>
            </p:extLst>
          </p:nvPr>
        </p:nvGraphicFramePr>
        <p:xfrm>
          <a:off x="152400" y="1295400"/>
          <a:ext cx="8834932" cy="5021124"/>
        </p:xfrm>
        <a:graphic>
          <a:graphicData uri="http://schemas.openxmlformats.org/drawingml/2006/table">
            <a:tbl>
              <a:tblPr firstRow="1" bandRow="1">
                <a:tableStyleId>{5C22544A-7EE6-4342-B048-85BDC9FD1C3A}</a:tableStyleId>
              </a:tblPr>
              <a:tblGrid>
                <a:gridCol w="4417466"/>
                <a:gridCol w="4417466"/>
              </a:tblGrid>
              <a:tr h="407326">
                <a:tc>
                  <a:txBody>
                    <a:bodyPr/>
                    <a:lstStyle/>
                    <a:p>
                      <a:pPr algn="l"/>
                      <a:r>
                        <a:rPr lang="en-US" sz="2400" b="1" u="none" dirty="0" smtClean="0">
                          <a:solidFill>
                            <a:schemeClr val="tx1"/>
                          </a:solidFill>
                        </a:rPr>
                        <a:t>Avoidable Reasons</a:t>
                      </a:r>
                    </a:p>
                    <a:p>
                      <a:pPr algn="l"/>
                      <a:r>
                        <a:rPr lang="en-US" sz="2400" b="1" i="1" u="sng" dirty="0" smtClean="0">
                          <a:solidFill>
                            <a:schemeClr val="tx1"/>
                          </a:solidFill>
                        </a:rPr>
                        <a:t>(Unopened vials)</a:t>
                      </a:r>
                      <a:endParaRPr lang="en-US" sz="2400" b="1" i="1" u="sng" dirty="0">
                        <a:solidFill>
                          <a:schemeClr val="tx1"/>
                        </a:solidFill>
                      </a:endParaRPr>
                    </a:p>
                  </a:txBody>
                  <a:tcPr anchor="ctr">
                    <a:noFill/>
                  </a:tcPr>
                </a:tc>
                <a:tc>
                  <a:txBody>
                    <a:bodyPr/>
                    <a:lstStyle/>
                    <a:p>
                      <a:pPr algn="l"/>
                      <a:r>
                        <a:rPr lang="en-US" sz="2400" b="1" u="none" dirty="0" smtClean="0">
                          <a:solidFill>
                            <a:schemeClr val="tx1"/>
                          </a:solidFill>
                        </a:rPr>
                        <a:t>Unavoidable Reasons</a:t>
                      </a:r>
                    </a:p>
                    <a:p>
                      <a:pPr algn="l"/>
                      <a:r>
                        <a:rPr lang="en-US" sz="2400" b="1" i="1" u="sng" dirty="0" smtClean="0">
                          <a:solidFill>
                            <a:schemeClr val="tx1"/>
                          </a:solidFill>
                        </a:rPr>
                        <a:t>(Opened vials)</a:t>
                      </a:r>
                      <a:endParaRPr lang="en-US" sz="2400" b="1" i="1" u="sng" dirty="0">
                        <a:solidFill>
                          <a:schemeClr val="tx1"/>
                        </a:solidFill>
                      </a:endParaRPr>
                    </a:p>
                  </a:txBody>
                  <a:tcPr anchor="ctr">
                    <a:noFill/>
                  </a:tcPr>
                </a:tc>
              </a:tr>
              <a:tr h="686022">
                <a:tc>
                  <a:txBody>
                    <a:bodyPr/>
                    <a:lstStyle/>
                    <a:p>
                      <a:pPr algn="l"/>
                      <a:r>
                        <a:rPr lang="en-US" sz="2400" b="1" dirty="0" smtClean="0">
                          <a:solidFill>
                            <a:schemeClr val="tx1"/>
                          </a:solidFill>
                        </a:rPr>
                        <a:t>Expiration of vaccine</a:t>
                      </a:r>
                      <a:endParaRPr lang="en-US" sz="2400" b="1" dirty="0">
                        <a:solidFill>
                          <a:schemeClr val="tx1"/>
                        </a:solidFill>
                      </a:endParaRPr>
                    </a:p>
                  </a:txBody>
                  <a:tcPr anchor="ctr">
                    <a:noFill/>
                  </a:tcPr>
                </a:tc>
                <a:tc>
                  <a:txBody>
                    <a:bodyPr/>
                    <a:lstStyle/>
                    <a:p>
                      <a:pPr algn="l"/>
                      <a:r>
                        <a:rPr lang="en-US" sz="2400" b="1" dirty="0" smtClean="0">
                          <a:solidFill>
                            <a:schemeClr val="tx1"/>
                          </a:solidFill>
                        </a:rPr>
                        <a:t>Discard at end of RI</a:t>
                      </a:r>
                      <a:r>
                        <a:rPr lang="en-US" sz="2400" b="1" baseline="0" dirty="0" smtClean="0">
                          <a:solidFill>
                            <a:schemeClr val="tx1"/>
                          </a:solidFill>
                        </a:rPr>
                        <a:t> </a:t>
                      </a:r>
                      <a:r>
                        <a:rPr lang="en-US" sz="2400" b="1" dirty="0" smtClean="0">
                          <a:solidFill>
                            <a:schemeClr val="tx1"/>
                          </a:solidFill>
                        </a:rPr>
                        <a:t>session</a:t>
                      </a:r>
                      <a:endParaRPr lang="en-US" sz="2400" b="1" dirty="0">
                        <a:solidFill>
                          <a:schemeClr val="tx1"/>
                        </a:solidFill>
                      </a:endParaRPr>
                    </a:p>
                  </a:txBody>
                  <a:tcPr anchor="ctr">
                    <a:noFill/>
                  </a:tcPr>
                </a:tc>
              </a:tr>
              <a:tr h="686022">
                <a:tc>
                  <a:txBody>
                    <a:bodyPr/>
                    <a:lstStyle/>
                    <a:p>
                      <a:pPr algn="l"/>
                      <a:r>
                        <a:rPr lang="en-US" sz="2400" b="1" dirty="0" smtClean="0">
                          <a:solidFill>
                            <a:schemeClr val="tx1"/>
                          </a:solidFill>
                        </a:rPr>
                        <a:t>Cold chain failure</a:t>
                      </a:r>
                      <a:endParaRPr lang="en-US" sz="2400" b="1" dirty="0">
                        <a:solidFill>
                          <a:schemeClr val="tx1"/>
                        </a:solidFill>
                      </a:endParaRPr>
                    </a:p>
                  </a:txBody>
                  <a:tcPr anchor="ctr">
                    <a:noFill/>
                  </a:tcPr>
                </a:tc>
                <a:tc>
                  <a:txBody>
                    <a:bodyPr/>
                    <a:lstStyle/>
                    <a:p>
                      <a:pPr algn="l"/>
                      <a:r>
                        <a:rPr lang="en-US" sz="2400" b="1" dirty="0" smtClean="0">
                          <a:solidFill>
                            <a:schemeClr val="tx1"/>
                          </a:solidFill>
                        </a:rPr>
                        <a:t>Unused taken to outreach</a:t>
                      </a:r>
                      <a:endParaRPr lang="en-US" sz="2400" b="1" dirty="0">
                        <a:solidFill>
                          <a:schemeClr val="tx1"/>
                        </a:solidFill>
                      </a:endParaRPr>
                    </a:p>
                  </a:txBody>
                  <a:tcPr anchor="ctr">
                    <a:noFill/>
                  </a:tcPr>
                </a:tc>
              </a:tr>
              <a:tr h="686022">
                <a:tc>
                  <a:txBody>
                    <a:bodyPr/>
                    <a:lstStyle/>
                    <a:p>
                      <a:pPr algn="l"/>
                      <a:r>
                        <a:rPr lang="en-US" sz="2400" b="1" dirty="0" smtClean="0">
                          <a:solidFill>
                            <a:schemeClr val="tx1"/>
                          </a:solidFill>
                        </a:rPr>
                        <a:t>Loss of vaccine</a:t>
                      </a:r>
                      <a:endParaRPr lang="en-US" sz="2400" b="1" dirty="0">
                        <a:solidFill>
                          <a:schemeClr val="tx1"/>
                        </a:solidFill>
                      </a:endParaRPr>
                    </a:p>
                  </a:txBody>
                  <a:tcPr anchor="ctr">
                    <a:noFill/>
                  </a:tcPr>
                </a:tc>
                <a:tc>
                  <a:txBody>
                    <a:bodyPr/>
                    <a:lstStyle/>
                    <a:p>
                      <a:pPr algn="l"/>
                      <a:r>
                        <a:rPr lang="en-US" sz="2400" b="1" dirty="0" smtClean="0">
                          <a:solidFill>
                            <a:schemeClr val="tx1"/>
                          </a:solidFill>
                        </a:rPr>
                        <a:t>Unable to draw all doses</a:t>
                      </a:r>
                      <a:endParaRPr lang="en-US" sz="2400" b="1" dirty="0">
                        <a:solidFill>
                          <a:schemeClr val="tx1"/>
                        </a:solidFill>
                      </a:endParaRPr>
                    </a:p>
                  </a:txBody>
                  <a:tcPr anchor="ctr">
                    <a:noFill/>
                  </a:tcPr>
                </a:tc>
              </a:tr>
              <a:tr h="421879">
                <a:tc>
                  <a:txBody>
                    <a:bodyPr/>
                    <a:lstStyle/>
                    <a:p>
                      <a:pPr algn="l"/>
                      <a:r>
                        <a:rPr lang="en-US" sz="2400" b="1" dirty="0" smtClean="0">
                          <a:solidFill>
                            <a:schemeClr val="tx1"/>
                          </a:solidFill>
                        </a:rPr>
                        <a:t>Vaccine breakage</a:t>
                      </a:r>
                      <a:endParaRPr lang="en-US" sz="2400" b="1" dirty="0">
                        <a:solidFill>
                          <a:schemeClr val="tx1"/>
                        </a:solidFill>
                      </a:endParaRPr>
                    </a:p>
                  </a:txBody>
                  <a:tcPr anchor="c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b="1" dirty="0" smtClean="0">
                          <a:solidFill>
                            <a:schemeClr val="tx1"/>
                          </a:solidFill>
                        </a:rPr>
                        <a:t>Re-administration</a:t>
                      </a:r>
                    </a:p>
                  </a:txBody>
                  <a:tcPr anchor="ctr">
                    <a:noFill/>
                  </a:tcPr>
                </a:tc>
              </a:tr>
              <a:tr h="686022">
                <a:tc>
                  <a:txBody>
                    <a:bodyPr/>
                    <a:lstStyle/>
                    <a:p>
                      <a:pPr algn="l"/>
                      <a:r>
                        <a:rPr lang="en-US" sz="2400" b="1" dirty="0" smtClean="0">
                          <a:solidFill>
                            <a:schemeClr val="tx1"/>
                          </a:solidFill>
                        </a:rPr>
                        <a:t>Theft of vaccine</a:t>
                      </a:r>
                      <a:endParaRPr lang="en-US" sz="2400" b="1" dirty="0">
                        <a:solidFill>
                          <a:schemeClr val="tx1"/>
                        </a:solidFill>
                      </a:endParaRPr>
                    </a:p>
                  </a:txBody>
                  <a:tcPr anchor="c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b="1" dirty="0" smtClean="0">
                          <a:solidFill>
                            <a:schemeClr val="tx1"/>
                          </a:solidFill>
                        </a:rPr>
                        <a:t>Suspected</a:t>
                      </a:r>
                      <a:r>
                        <a:rPr lang="en-US" sz="2400" b="1" baseline="0" dirty="0" smtClean="0">
                          <a:solidFill>
                            <a:schemeClr val="tx1"/>
                          </a:solidFill>
                        </a:rPr>
                        <a:t> contamination</a:t>
                      </a:r>
                      <a:endParaRPr lang="en-US" sz="2400" b="1" dirty="0" smtClean="0">
                        <a:solidFill>
                          <a:schemeClr val="tx1"/>
                        </a:solidFill>
                      </a:endParaRPr>
                    </a:p>
                  </a:txBody>
                  <a:tcPr anchor="ctr">
                    <a:noFill/>
                  </a:tcPr>
                </a:tc>
              </a:tr>
              <a:tr h="996876">
                <a:tc>
                  <a:txBody>
                    <a:bodyPr/>
                    <a:lstStyle/>
                    <a:p>
                      <a:pPr algn="l"/>
                      <a:r>
                        <a:rPr lang="en-US" sz="2400" b="1" dirty="0" smtClean="0">
                          <a:solidFill>
                            <a:schemeClr val="tx1"/>
                          </a:solidFill>
                        </a:rPr>
                        <a:t>Poor</a:t>
                      </a:r>
                      <a:r>
                        <a:rPr lang="en-US" sz="2400" b="1" baseline="0" dirty="0" smtClean="0">
                          <a:solidFill>
                            <a:schemeClr val="tx1"/>
                          </a:solidFill>
                        </a:rPr>
                        <a:t> reconstitution/</a:t>
                      </a:r>
                    </a:p>
                    <a:p>
                      <a:pPr algn="l"/>
                      <a:r>
                        <a:rPr lang="en-US" sz="2400" b="1" baseline="0" dirty="0" smtClean="0">
                          <a:solidFill>
                            <a:schemeClr val="tx1"/>
                          </a:solidFill>
                        </a:rPr>
                        <a:t>administration practices </a:t>
                      </a:r>
                      <a:endParaRPr lang="en-US" sz="2400" b="1" dirty="0">
                        <a:solidFill>
                          <a:schemeClr val="tx1"/>
                        </a:solidFill>
                      </a:endParaRPr>
                    </a:p>
                  </a:txBody>
                  <a:tcPr anchor="c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b="1" dirty="0" smtClean="0">
                          <a:solidFill>
                            <a:schemeClr val="tx1"/>
                          </a:solidFill>
                        </a:rPr>
                        <a:t>Doses given to</a:t>
                      </a:r>
                      <a:r>
                        <a:rPr lang="en-US" sz="2400" b="1" baseline="0" dirty="0" smtClean="0">
                          <a:solidFill>
                            <a:schemeClr val="tx1"/>
                          </a:solidFill>
                        </a:rPr>
                        <a:t> children outside target group</a:t>
                      </a:r>
                      <a:endParaRPr lang="en-US" sz="2400" b="1" dirty="0" smtClean="0">
                        <a:solidFill>
                          <a:schemeClr val="tx1"/>
                        </a:solidFill>
                      </a:endParaRPr>
                    </a:p>
                  </a:txBody>
                  <a:tcPr anchor="ctr">
                    <a:noFill/>
                  </a:tcPr>
                </a:tc>
              </a:tr>
            </a:tbl>
          </a:graphicData>
        </a:graphic>
      </p:graphicFrame>
      <p:sp>
        <p:nvSpPr>
          <p:cNvPr id="11" name="Footer Placeholder 3"/>
          <p:cNvSpPr>
            <a:spLocks noGrp="1"/>
          </p:cNvSpPr>
          <p:nvPr>
            <p:ph type="ftr" sz="quarter" idx="11"/>
          </p:nvPr>
        </p:nvSpPr>
        <p:spPr>
          <a:xfrm>
            <a:off x="309071" y="6177690"/>
            <a:ext cx="8770528" cy="600755"/>
          </a:xfrm>
        </p:spPr>
        <p:txBody>
          <a:bodyPr/>
          <a:lstStyle/>
          <a:p>
            <a:pPr algn="l"/>
            <a:r>
              <a:rPr lang="en-US" sz="1050" b="1" dirty="0" smtClean="0">
                <a:solidFill>
                  <a:schemeClr val="tx1"/>
                </a:solidFill>
              </a:rPr>
              <a:t>WHO, </a:t>
            </a:r>
            <a:r>
              <a:rPr lang="en-US" sz="1050" b="1" i="1" dirty="0" smtClean="0">
                <a:solidFill>
                  <a:schemeClr val="tx1"/>
                </a:solidFill>
              </a:rPr>
              <a:t>Monitoring vaccine wastage at country level. Guidelines for programme managers.</a:t>
            </a:r>
            <a:r>
              <a:rPr lang="en-US" sz="1050" b="1" dirty="0" smtClean="0">
                <a:solidFill>
                  <a:schemeClr val="tx1"/>
                </a:solidFill>
              </a:rPr>
              <a:t> Vaccines and Biologicals, 2003. 03(18).</a:t>
            </a:r>
          </a:p>
          <a:p>
            <a:pPr algn="l"/>
            <a:r>
              <a:rPr lang="en-US" sz="1050" b="1" dirty="0" smtClean="0">
                <a:solidFill>
                  <a:schemeClr val="tx1"/>
                </a:solidFill>
              </a:rPr>
              <a:t>Khan, M.M., et al., </a:t>
            </a:r>
            <a:r>
              <a:rPr lang="en-US" sz="1050" b="1" i="1" dirty="0" smtClean="0">
                <a:solidFill>
                  <a:schemeClr val="tx1"/>
                </a:solidFill>
              </a:rPr>
              <a:t>Cost of delivering child immunization services in urban Bangladesh: A study based on facility-level surveys.</a:t>
            </a:r>
            <a:r>
              <a:rPr lang="en-US" sz="1050" b="1" dirty="0" smtClean="0">
                <a:solidFill>
                  <a:schemeClr val="tx1"/>
                </a:solidFill>
              </a:rPr>
              <a:t> Journal of Health Population and Nutrition, 2004. 22(4): p. 404-412.</a:t>
            </a:r>
            <a:endParaRPr lang="en-US" sz="1050" b="1" dirty="0">
              <a:solidFill>
                <a:schemeClr val="tx1"/>
              </a:solidFill>
            </a:endParaRPr>
          </a:p>
        </p:txBody>
      </p:sp>
    </p:spTree>
    <p:extLst>
      <p:ext uri="{BB962C8B-B14F-4D97-AF65-F5344CB8AC3E}">
        <p14:creationId xmlns:p14="http://schemas.microsoft.com/office/powerpoint/2010/main" val="21693306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Title 1"/>
          <p:cNvSpPr>
            <a:spLocks noGrp="1"/>
          </p:cNvSpPr>
          <p:nvPr>
            <p:ph type="title"/>
          </p:nvPr>
        </p:nvSpPr>
        <p:spPr/>
        <p:txBody>
          <a:bodyPr>
            <a:normAutofit/>
          </a:bodyPr>
          <a:lstStyle/>
          <a:p>
            <a:r>
              <a:rPr lang="en-US" dirty="0" smtClean="0"/>
              <a:t>Example: vaccine forecast in Liberia</a:t>
            </a:r>
          </a:p>
        </p:txBody>
      </p:sp>
      <p:sp>
        <p:nvSpPr>
          <p:cNvPr id="78850" name="Content Placeholder 2"/>
          <p:cNvSpPr>
            <a:spLocks noGrp="1"/>
          </p:cNvSpPr>
          <p:nvPr>
            <p:ph idx="1"/>
          </p:nvPr>
        </p:nvSpPr>
        <p:spPr/>
        <p:txBody>
          <a:bodyPr/>
          <a:lstStyle/>
          <a:p>
            <a:endParaRPr lang="en-US" smtClean="0"/>
          </a:p>
        </p:txBody>
      </p:sp>
      <p:pic>
        <p:nvPicPr>
          <p:cNvPr id="78851" name="Picture 2" descr="E:\201202\201202A0\02132012394.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b="-4432"/>
          <a:stretch/>
        </p:blipFill>
        <p:spPr bwMode="auto">
          <a:xfrm>
            <a:off x="0" y="1295400"/>
            <a:ext cx="9210017" cy="6324600"/>
          </a:xfrm>
          <a:prstGeom prst="rect">
            <a:avLst/>
          </a:prstGeom>
          <a:noFill/>
          <a:ln w="9525">
            <a:noFill/>
            <a:miter lim="800000"/>
            <a:headEnd/>
            <a:tailEnd/>
          </a:ln>
        </p:spPr>
      </p:pic>
    </p:spTree>
    <p:extLst>
      <p:ext uri="{BB962C8B-B14F-4D97-AF65-F5344CB8AC3E}">
        <p14:creationId xmlns:p14="http://schemas.microsoft.com/office/powerpoint/2010/main" val="330425248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fontAlgn="auto">
              <a:spcAft>
                <a:spcPts val="0"/>
              </a:spcAft>
              <a:defRPr/>
            </a:pPr>
            <a:r>
              <a:rPr lang="en-US" b="1" dirty="0" smtClean="0"/>
              <a:t>Managing vaccine supply</a:t>
            </a:r>
            <a:endParaRPr lang="en-US" b="1" dirty="0"/>
          </a:p>
        </p:txBody>
      </p:sp>
      <p:sp>
        <p:nvSpPr>
          <p:cNvPr id="3" name="Content Placeholder 2"/>
          <p:cNvSpPr>
            <a:spLocks noGrp="1"/>
          </p:cNvSpPr>
          <p:nvPr>
            <p:ph idx="1"/>
          </p:nvPr>
        </p:nvSpPr>
        <p:spPr>
          <a:xfrm>
            <a:off x="457200" y="1371600"/>
            <a:ext cx="8229600" cy="4754563"/>
          </a:xfrm>
        </p:spPr>
        <p:txBody>
          <a:bodyPr rtlCol="0">
            <a:normAutofit/>
          </a:bodyPr>
          <a:lstStyle/>
          <a:p>
            <a:pPr fontAlgn="auto">
              <a:spcAft>
                <a:spcPts val="0"/>
              </a:spcAft>
              <a:buFont typeface="Arial" pitchFamily="34" charset="0"/>
              <a:buChar char="•"/>
              <a:defRPr/>
            </a:pPr>
            <a:r>
              <a:rPr lang="en-US" b="1" dirty="0" smtClean="0"/>
              <a:t>Requires tracking stock (supply) information</a:t>
            </a:r>
          </a:p>
          <a:p>
            <a:pPr fontAlgn="auto">
              <a:spcAft>
                <a:spcPts val="0"/>
              </a:spcAft>
              <a:buFont typeface="Arial" pitchFamily="34" charset="0"/>
              <a:buChar char="•"/>
              <a:defRPr/>
            </a:pPr>
            <a:r>
              <a:rPr lang="en-US" b="1" dirty="0" smtClean="0"/>
              <a:t>Routine stock management registers at each administrative level track the following:</a:t>
            </a:r>
          </a:p>
          <a:p>
            <a:pPr lvl="1" fontAlgn="auto">
              <a:spcAft>
                <a:spcPts val="0"/>
              </a:spcAft>
              <a:buFont typeface="Arial" pitchFamily="34" charset="0"/>
              <a:buChar char="–"/>
              <a:defRPr/>
            </a:pPr>
            <a:r>
              <a:rPr lang="en-US" b="1" dirty="0" smtClean="0"/>
              <a:t>Number of vaccine doses received at level</a:t>
            </a:r>
          </a:p>
          <a:p>
            <a:pPr lvl="1">
              <a:defRPr/>
            </a:pPr>
            <a:r>
              <a:rPr lang="en-US" b="1" dirty="0" smtClean="0"/>
              <a:t>Number of </a:t>
            </a:r>
            <a:r>
              <a:rPr lang="en-US" b="1" dirty="0"/>
              <a:t>vaccine doses </a:t>
            </a:r>
            <a:r>
              <a:rPr lang="en-US" b="1" dirty="0" smtClean="0"/>
              <a:t>used at level</a:t>
            </a:r>
          </a:p>
          <a:p>
            <a:pPr lvl="1" fontAlgn="auto">
              <a:spcAft>
                <a:spcPts val="0"/>
              </a:spcAft>
              <a:buFont typeface="Arial" pitchFamily="34" charset="0"/>
              <a:buChar char="–"/>
              <a:defRPr/>
            </a:pPr>
            <a:r>
              <a:rPr lang="en-US" b="1" dirty="0" smtClean="0"/>
              <a:t>Current balance of doses at level</a:t>
            </a:r>
          </a:p>
          <a:p>
            <a:pPr lvl="1" fontAlgn="auto">
              <a:spcAft>
                <a:spcPts val="0"/>
              </a:spcAft>
              <a:buFont typeface="Arial" pitchFamily="34" charset="0"/>
              <a:buChar char="–"/>
              <a:defRPr/>
            </a:pPr>
            <a:r>
              <a:rPr lang="en-US" b="1" dirty="0" smtClean="0"/>
              <a:t>Batch numbers, VVM status, expiry date of each vial</a:t>
            </a:r>
          </a:p>
          <a:p>
            <a:pPr lvl="1" fontAlgn="auto">
              <a:spcAft>
                <a:spcPts val="0"/>
              </a:spcAft>
              <a:buFont typeface="Arial" pitchFamily="34" charset="0"/>
              <a:buChar char="–"/>
              <a:defRPr/>
            </a:pPr>
            <a:endParaRPr lang="en-US" b="1" dirty="0"/>
          </a:p>
        </p:txBody>
      </p:sp>
    </p:spTree>
    <p:extLst>
      <p:ext uri="{BB962C8B-B14F-4D97-AF65-F5344CB8AC3E}">
        <p14:creationId xmlns:p14="http://schemas.microsoft.com/office/powerpoint/2010/main" val="296667300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Title 1"/>
          <p:cNvSpPr>
            <a:spLocks noGrp="1"/>
          </p:cNvSpPr>
          <p:nvPr>
            <p:ph type="title"/>
          </p:nvPr>
        </p:nvSpPr>
        <p:spPr>
          <a:xfrm>
            <a:off x="457200" y="76200"/>
            <a:ext cx="8229600" cy="1143000"/>
          </a:xfrm>
        </p:spPr>
        <p:txBody>
          <a:bodyPr>
            <a:noAutofit/>
          </a:bodyPr>
          <a:lstStyle/>
          <a:p>
            <a:r>
              <a:rPr lang="en-US" sz="2800" dirty="0" smtClean="0"/>
              <a:t>Example: stock management register from Nigeria</a:t>
            </a:r>
          </a:p>
        </p:txBody>
      </p:sp>
      <p:pic>
        <p:nvPicPr>
          <p:cNvPr id="266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7567" t="14857" r="8649" b="31429"/>
          <a:stretch/>
        </p:blipFill>
        <p:spPr bwMode="auto">
          <a:xfrm>
            <a:off x="50800" y="1375460"/>
            <a:ext cx="9067800" cy="51142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3678935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SERVICE DELIVERY: </a:t>
            </a:r>
            <a:r>
              <a:rPr lang="en-US" dirty="0" err="1" smtClean="0"/>
              <a:t>ConducTING</a:t>
            </a:r>
            <a:r>
              <a:rPr lang="en-US" dirty="0" smtClean="0"/>
              <a:t> IMMUNIZATION SESSIONS</a:t>
            </a:r>
            <a:endParaRPr lang="en-US" dirty="0"/>
          </a:p>
        </p:txBody>
      </p:sp>
      <p:sp>
        <p:nvSpPr>
          <p:cNvPr id="4" name="Text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0061373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Fixed Immunization Sessions</a:t>
            </a:r>
            <a:endParaRPr lang="en-US" b="1" dirty="0"/>
          </a:p>
        </p:txBody>
      </p:sp>
      <p:sp>
        <p:nvSpPr>
          <p:cNvPr id="3" name="Content Placeholder 2"/>
          <p:cNvSpPr>
            <a:spLocks noGrp="1"/>
          </p:cNvSpPr>
          <p:nvPr>
            <p:ph idx="1"/>
          </p:nvPr>
        </p:nvSpPr>
        <p:spPr>
          <a:xfrm>
            <a:off x="457200" y="1600200"/>
            <a:ext cx="8229600" cy="4953000"/>
          </a:xfrm>
        </p:spPr>
        <p:txBody>
          <a:bodyPr>
            <a:normAutofit/>
          </a:bodyPr>
          <a:lstStyle/>
          <a:p>
            <a:r>
              <a:rPr lang="en-US" sz="2800" b="1" dirty="0" smtClean="0"/>
              <a:t>“Fixed” location = health facility</a:t>
            </a:r>
          </a:p>
          <a:p>
            <a:r>
              <a:rPr lang="en-US" sz="2800" b="1" dirty="0" smtClean="0"/>
              <a:t>May happen daily or on specific days of week</a:t>
            </a:r>
          </a:p>
          <a:p>
            <a:r>
              <a:rPr lang="en-US" sz="2800" b="1" dirty="0" smtClean="0"/>
              <a:t>Some vaccines may have special session day</a:t>
            </a:r>
          </a:p>
          <a:p>
            <a:pPr lvl="1"/>
            <a:r>
              <a:rPr lang="en-US" sz="2400" b="1" dirty="0" smtClean="0"/>
              <a:t>Common for reconstituted vaccines (BCG, Measles, YF) due to special usage requirement e.g. once vial is opened, can only be used for single day</a:t>
            </a:r>
          </a:p>
          <a:p>
            <a:pPr lvl="1"/>
            <a:r>
              <a:rPr lang="en-US" sz="2400" b="1" dirty="0" smtClean="0"/>
              <a:t>Children often “batched” to ensure low wastage (at risk of higher coverage)</a:t>
            </a:r>
          </a:p>
        </p:txBody>
      </p:sp>
    </p:spTree>
    <p:extLst>
      <p:ext uri="{BB962C8B-B14F-4D97-AF65-F5344CB8AC3E}">
        <p14:creationId xmlns:p14="http://schemas.microsoft.com/office/powerpoint/2010/main" val="359930315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0"/>
            <a:ext cx="8153400" cy="1981200"/>
          </a:xfrm>
        </p:spPr>
        <p:txBody>
          <a:bodyPr/>
          <a:lstStyle/>
          <a:p>
            <a:r>
              <a:rPr lang="en-US" dirty="0" smtClean="0"/>
              <a:t>Session days-E Java, Indonesia</a:t>
            </a:r>
            <a:endParaRPr lang="en-US" dirty="0"/>
          </a:p>
        </p:txBody>
      </p:sp>
      <p:pic>
        <p:nvPicPr>
          <p:cNvPr id="26626" name="Picture 2" descr="\\cdc\project\CGH_GID_Active\SISB\RIT\Regions\SEARO\Indonesia\USAID\photos\training july2012\IMG-20120711-00057.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437091" y="609600"/>
            <a:ext cx="8300509" cy="622538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rot="21287363">
            <a:off x="1752600" y="2514600"/>
            <a:ext cx="2133600" cy="646331"/>
          </a:xfrm>
          <a:prstGeom prst="rect">
            <a:avLst/>
          </a:prstGeom>
          <a:noFill/>
        </p:spPr>
        <p:txBody>
          <a:bodyPr wrap="square" rtlCol="0">
            <a:spAutoFit/>
          </a:bodyPr>
          <a:lstStyle/>
          <a:p>
            <a:r>
              <a:rPr lang="en-US" sz="3600" b="1" i="1" dirty="0" smtClean="0"/>
              <a:t>Service</a:t>
            </a:r>
            <a:endParaRPr lang="en-US" sz="3600" b="1" i="1" dirty="0"/>
          </a:p>
        </p:txBody>
      </p:sp>
      <p:sp>
        <p:nvSpPr>
          <p:cNvPr id="5" name="TextBox 4"/>
          <p:cNvSpPr txBox="1"/>
          <p:nvPr/>
        </p:nvSpPr>
        <p:spPr>
          <a:xfrm>
            <a:off x="2895600" y="3657600"/>
            <a:ext cx="3200400" cy="523220"/>
          </a:xfrm>
          <a:prstGeom prst="rect">
            <a:avLst/>
          </a:prstGeom>
          <a:noFill/>
        </p:spPr>
        <p:txBody>
          <a:bodyPr wrap="square" rtlCol="0">
            <a:spAutoFit/>
          </a:bodyPr>
          <a:lstStyle/>
          <a:p>
            <a:r>
              <a:rPr lang="en-US" sz="2800" b="1" dirty="0" smtClean="0"/>
              <a:t>Each Saturday</a:t>
            </a:r>
            <a:endParaRPr lang="en-US" sz="2800" b="1" dirty="0"/>
          </a:p>
        </p:txBody>
      </p:sp>
      <p:sp>
        <p:nvSpPr>
          <p:cNvPr id="6" name="TextBox 5"/>
          <p:cNvSpPr txBox="1"/>
          <p:nvPr/>
        </p:nvSpPr>
        <p:spPr>
          <a:xfrm>
            <a:off x="1981200" y="5638800"/>
            <a:ext cx="5410200" cy="461665"/>
          </a:xfrm>
          <a:prstGeom prst="rect">
            <a:avLst/>
          </a:prstGeom>
          <a:noFill/>
        </p:spPr>
        <p:txBody>
          <a:bodyPr wrap="square" rtlCol="0">
            <a:spAutoFit/>
          </a:bodyPr>
          <a:lstStyle/>
          <a:p>
            <a:r>
              <a:rPr lang="en-US" sz="2400" b="1" dirty="0" smtClean="0"/>
              <a:t>BCG and measles  every third Saturday</a:t>
            </a:r>
            <a:endParaRPr lang="en-US" sz="2400" b="1" dirty="0"/>
          </a:p>
        </p:txBody>
      </p:sp>
    </p:spTree>
    <p:extLst>
      <p:ext uri="{BB962C8B-B14F-4D97-AF65-F5344CB8AC3E}">
        <p14:creationId xmlns:p14="http://schemas.microsoft.com/office/powerpoint/2010/main" val="276332064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800600"/>
          </a:xfrm>
        </p:spPr>
        <p:txBody>
          <a:bodyPr>
            <a:normAutofit fontScale="92500"/>
          </a:bodyPr>
          <a:lstStyle/>
          <a:p>
            <a:r>
              <a:rPr lang="en-US" sz="3000" b="1" dirty="0" smtClean="0"/>
              <a:t>Conducted in communities far from health facility</a:t>
            </a:r>
          </a:p>
          <a:p>
            <a:r>
              <a:rPr lang="en-US" sz="3000" b="1" dirty="0" smtClean="0"/>
              <a:t>Vaccinator usually has multiple outreach locations</a:t>
            </a:r>
          </a:p>
          <a:p>
            <a:r>
              <a:rPr lang="en-US" sz="3000" b="1" dirty="0" smtClean="0"/>
              <a:t>Must be conducted </a:t>
            </a:r>
            <a:r>
              <a:rPr lang="en-US" sz="3000" b="1" dirty="0"/>
              <a:t>at least 5x per year to each </a:t>
            </a:r>
            <a:r>
              <a:rPr lang="en-US" sz="3000" b="1" dirty="0" smtClean="0"/>
              <a:t>community (at least 5 immunization visits per </a:t>
            </a:r>
            <a:r>
              <a:rPr lang="en-US" sz="3000" b="1" dirty="0" err="1" smtClean="0"/>
              <a:t>yr</a:t>
            </a:r>
            <a:r>
              <a:rPr lang="en-US" sz="3000" b="1" dirty="0" smtClean="0"/>
              <a:t>)</a:t>
            </a:r>
          </a:p>
          <a:p>
            <a:r>
              <a:rPr lang="en-US" sz="3000" b="1" dirty="0" smtClean="0"/>
              <a:t>Outreach session schedule</a:t>
            </a:r>
          </a:p>
          <a:p>
            <a:pPr lvl="1"/>
            <a:r>
              <a:rPr lang="en-US" sz="2600" b="1" dirty="0" smtClean="0"/>
              <a:t>Includes locations, dates, target population for each planned outreach sessions</a:t>
            </a:r>
          </a:p>
          <a:p>
            <a:r>
              <a:rPr lang="en-US" sz="3000" b="1" dirty="0" smtClean="0"/>
              <a:t>Challenges</a:t>
            </a:r>
          </a:p>
          <a:p>
            <a:pPr lvl="1"/>
            <a:r>
              <a:rPr lang="en-US" sz="2600" b="1" dirty="0" smtClean="0"/>
              <a:t>Lack of fuel, transport, poor planning with community</a:t>
            </a:r>
          </a:p>
        </p:txBody>
      </p:sp>
      <p:sp>
        <p:nvSpPr>
          <p:cNvPr id="5" name="Title 1"/>
          <p:cNvSpPr txBox="1">
            <a:spLocks/>
          </p:cNvSpPr>
          <p:nvPr/>
        </p:nvSpPr>
        <p:spPr>
          <a:xfrm>
            <a:off x="609600" y="427038"/>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smtClean="0"/>
              <a:t>Outreach Immunization Sessions</a:t>
            </a:r>
            <a:endParaRPr lang="en-US" b="1" dirty="0"/>
          </a:p>
        </p:txBody>
      </p:sp>
    </p:spTree>
    <p:extLst>
      <p:ext uri="{BB962C8B-B14F-4D97-AF65-F5344CB8AC3E}">
        <p14:creationId xmlns:p14="http://schemas.microsoft.com/office/powerpoint/2010/main" val="305778761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MMUNICATIONS: CREATING COMMUNITY DEMAND FOR RI</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621227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p:cNvSpPr>
            <a:spLocks noGrp="1" noChangeArrowheads="1"/>
          </p:cNvSpPr>
          <p:nvPr>
            <p:ph type="title"/>
          </p:nvPr>
        </p:nvSpPr>
        <p:spPr>
          <a:xfrm>
            <a:off x="685800" y="117475"/>
            <a:ext cx="7772400" cy="949325"/>
          </a:xfrm>
        </p:spPr>
        <p:txBody>
          <a:bodyPr>
            <a:normAutofit fontScale="90000"/>
          </a:bodyPr>
          <a:lstStyle/>
          <a:p>
            <a:r>
              <a:rPr lang="en-US" sz="3100" b="1" dirty="0" smtClean="0"/>
              <a:t>WHO-Recommended</a:t>
            </a:r>
            <a:r>
              <a:rPr lang="en-US" sz="3100" b="1" baseline="30000" dirty="0" smtClean="0"/>
              <a:t>#</a:t>
            </a:r>
            <a:r>
              <a:rPr lang="en-US" sz="3100" b="1" dirty="0" smtClean="0"/>
              <a:t/>
            </a:r>
            <a:br>
              <a:rPr lang="en-US" sz="3100" b="1" dirty="0" smtClean="0"/>
            </a:br>
            <a:r>
              <a:rPr lang="en-US" sz="3100" b="1" dirty="0" smtClean="0"/>
              <a:t>Routine Immunizations &amp; Immunization Schedule</a:t>
            </a:r>
            <a:r>
              <a:rPr lang="en-US" sz="2400" b="1" dirty="0" smtClean="0"/>
              <a:t/>
            </a:r>
            <a:br>
              <a:rPr lang="en-US" sz="2400" b="1" dirty="0" smtClean="0"/>
            </a:br>
            <a:r>
              <a:rPr lang="en-US" sz="2400" b="1" dirty="0" smtClean="0"/>
              <a:t> </a:t>
            </a:r>
            <a:endParaRPr lang="en-US" sz="2400" b="1" dirty="0"/>
          </a:p>
        </p:txBody>
      </p:sp>
      <p:graphicFrame>
        <p:nvGraphicFramePr>
          <p:cNvPr id="166969" name="Group 57"/>
          <p:cNvGraphicFramePr>
            <a:graphicFrameLocks noGrp="1"/>
          </p:cNvGraphicFramePr>
          <p:nvPr>
            <p:ph type="tbl" idx="1"/>
            <p:extLst>
              <p:ext uri="{D42A27DB-BD31-4B8C-83A1-F6EECF244321}">
                <p14:modId xmlns:p14="http://schemas.microsoft.com/office/powerpoint/2010/main" val="1986681622"/>
              </p:ext>
            </p:extLst>
          </p:nvPr>
        </p:nvGraphicFramePr>
        <p:xfrm>
          <a:off x="457200" y="914402"/>
          <a:ext cx="8077200" cy="5163606"/>
        </p:xfrm>
        <a:graphic>
          <a:graphicData uri="http://schemas.openxmlformats.org/drawingml/2006/table">
            <a:tbl>
              <a:tblPr/>
              <a:tblGrid>
                <a:gridCol w="1303800"/>
                <a:gridCol w="1939800"/>
                <a:gridCol w="1208400"/>
                <a:gridCol w="1208400"/>
                <a:gridCol w="1208400"/>
                <a:gridCol w="1208400"/>
              </a:tblGrid>
              <a:tr h="861235">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Age</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Traditional Vaccines</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sng" strike="noStrike" cap="none" normalizeH="0" baseline="0" dirty="0" smtClean="0">
                          <a:ln>
                            <a:noFill/>
                          </a:ln>
                          <a:solidFill>
                            <a:schemeClr val="tx1"/>
                          </a:solidFill>
                          <a:effectLst/>
                          <a:latin typeface="Arial" charset="0"/>
                        </a:rPr>
                        <a:t>Hepatitis B Vaccine</a:t>
                      </a:r>
                    </a:p>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1      or       2</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400" b="1" i="0" u="none" strike="noStrike" cap="none" normalizeH="0" baseline="0" dirty="0" smtClean="0">
                          <a:ln>
                            <a:noFill/>
                          </a:ln>
                          <a:solidFill>
                            <a:schemeClr val="tx1"/>
                          </a:solidFill>
                          <a:effectLst/>
                          <a:latin typeface="Arial" charset="0"/>
                        </a:rPr>
                        <a:t>H. </a:t>
                      </a:r>
                      <a:r>
                        <a:rPr kumimoji="0" lang="en-US" sz="1400" b="1" i="0" u="none" strike="noStrike" cap="none" normalizeH="0" baseline="0" dirty="0" err="1" smtClean="0">
                          <a:ln>
                            <a:noFill/>
                          </a:ln>
                          <a:solidFill>
                            <a:schemeClr val="tx1"/>
                          </a:solidFill>
                          <a:effectLst/>
                          <a:latin typeface="Arial" charset="0"/>
                        </a:rPr>
                        <a:t>Influenzae</a:t>
                      </a:r>
                      <a:endParaRPr kumimoji="0" lang="en-US" sz="14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400" b="1" i="0" u="none" strike="noStrike" cap="none" normalizeH="0" baseline="0" dirty="0" smtClean="0">
                          <a:ln>
                            <a:noFill/>
                          </a:ln>
                          <a:solidFill>
                            <a:schemeClr val="tx1"/>
                          </a:solidFill>
                          <a:effectLst/>
                          <a:latin typeface="Arial" charset="0"/>
                        </a:rPr>
                        <a:t>Newer vaccines</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92933">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Birth</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BCG, OPV0</a:t>
                      </a:r>
                      <a:endParaRPr kumimoji="0" lang="en-US" sz="14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HepB1</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94415">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6 weeks</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DTP1, OPV1</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HepB2</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HepB1</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Hib1</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PCV1, RV1*</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9638">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10 weeks </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DTP2, OPV2</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HepB2</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Hib2</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PCV2, RV2*</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61120">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14 weeks</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DTP3, OPV3</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HepB3</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smtClean="0">
                          <a:ln>
                            <a:noFill/>
                          </a:ln>
                          <a:solidFill>
                            <a:schemeClr val="tx1"/>
                          </a:solidFill>
                          <a:effectLst/>
                          <a:latin typeface="Arial" charset="0"/>
                        </a:rPr>
                        <a:t>HepB3</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Hib3</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PCV3, RV3*</a:t>
                      </a:r>
                    </a:p>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IPV</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61235">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9 or 12 months</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Measles, Rubella </a:t>
                      </a:r>
                    </a:p>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YF and JE**)</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2422">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9-13 years</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6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600" b="1" i="0" u="none" strike="noStrike" cap="none" normalizeH="0" baseline="0" dirty="0" smtClean="0">
                          <a:ln>
                            <a:noFill/>
                          </a:ln>
                          <a:solidFill>
                            <a:schemeClr val="tx1"/>
                          </a:solidFill>
                          <a:effectLst/>
                          <a:latin typeface="Arial" charset="0"/>
                        </a:rPr>
                        <a:t>HPV1-3***</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 name="TextBox 1"/>
          <p:cNvSpPr txBox="1"/>
          <p:nvPr/>
        </p:nvSpPr>
        <p:spPr>
          <a:xfrm>
            <a:off x="457200" y="6103203"/>
            <a:ext cx="8534400" cy="830997"/>
          </a:xfrm>
          <a:prstGeom prst="rect">
            <a:avLst/>
          </a:prstGeom>
          <a:noFill/>
        </p:spPr>
        <p:txBody>
          <a:bodyPr wrap="square" rtlCol="0">
            <a:spAutoFit/>
          </a:bodyPr>
          <a:lstStyle/>
          <a:p>
            <a:r>
              <a:rPr lang="en-US" sz="1200" i="1" dirty="0" smtClean="0"/>
              <a:t>#See WHO recommendation summary tables:   </a:t>
            </a:r>
            <a:r>
              <a:rPr lang="en-US" sz="1200" i="1" dirty="0" smtClean="0">
                <a:solidFill>
                  <a:schemeClr val="accent1"/>
                </a:solidFill>
              </a:rPr>
              <a:t>http</a:t>
            </a:r>
            <a:r>
              <a:rPr lang="en-US" sz="1200" i="1" dirty="0">
                <a:solidFill>
                  <a:schemeClr val="accent1"/>
                </a:solidFill>
              </a:rPr>
              <a:t>://www.who.int/immunization/policy/immunization_tables/en/index.html</a:t>
            </a:r>
            <a:endParaRPr lang="en-US" sz="1200" i="1" dirty="0" smtClean="0">
              <a:solidFill>
                <a:schemeClr val="accent1"/>
              </a:solidFill>
            </a:endParaRPr>
          </a:p>
          <a:p>
            <a:r>
              <a:rPr lang="en-US" sz="1200" i="1" dirty="0" smtClean="0"/>
              <a:t> * doses required for </a:t>
            </a:r>
            <a:r>
              <a:rPr lang="en-US" sz="1200" i="1" dirty="0" err="1" smtClean="0"/>
              <a:t>Rotarix</a:t>
            </a:r>
            <a:r>
              <a:rPr lang="en-US" sz="1200" i="1" dirty="0" smtClean="0"/>
              <a:t>; 2 doses required for Rota </a:t>
            </a:r>
            <a:r>
              <a:rPr lang="en-US" sz="1200" i="1" dirty="0" err="1" smtClean="0"/>
              <a:t>Teq</a:t>
            </a:r>
            <a:endParaRPr lang="en-US" sz="1200" i="1" dirty="0" smtClean="0"/>
          </a:p>
          <a:p>
            <a:r>
              <a:rPr lang="en-US" sz="1200" i="1" dirty="0" smtClean="0"/>
              <a:t>**Yellow fever and JE vaccine are given to children residing in certain regions</a:t>
            </a:r>
          </a:p>
          <a:p>
            <a:r>
              <a:rPr lang="en-US" sz="1200" i="1" dirty="0" smtClean="0"/>
              <a:t>***HPV-</a:t>
            </a:r>
            <a:r>
              <a:rPr lang="en-US" sz="1200" i="1" dirty="0" err="1" smtClean="0"/>
              <a:t>quadrivalent</a:t>
            </a:r>
            <a:r>
              <a:rPr lang="en-US" sz="1200" i="1" dirty="0" smtClean="0"/>
              <a:t> requires 3 doses; 2</a:t>
            </a:r>
            <a:r>
              <a:rPr lang="en-US" sz="1200" i="1" baseline="30000" dirty="0" smtClean="0"/>
              <a:t>nd</a:t>
            </a:r>
            <a:r>
              <a:rPr lang="en-US" sz="1200" i="1" dirty="0" smtClean="0"/>
              <a:t> dose given 2 months after 1</a:t>
            </a:r>
            <a:r>
              <a:rPr lang="en-US" sz="1200" i="1" baseline="30000" dirty="0" smtClean="0"/>
              <a:t>st</a:t>
            </a:r>
            <a:r>
              <a:rPr lang="en-US" sz="1200" i="1" dirty="0" smtClean="0"/>
              <a:t> and 3</a:t>
            </a:r>
            <a:r>
              <a:rPr lang="en-US" sz="1200" i="1" baseline="30000" dirty="0" smtClean="0"/>
              <a:t>rd</a:t>
            </a:r>
            <a:r>
              <a:rPr lang="en-US" sz="1200" i="1" dirty="0" smtClean="0"/>
              <a:t> dose given 4 months after 2</a:t>
            </a:r>
            <a:r>
              <a:rPr lang="en-US" sz="1200" i="1" baseline="30000" dirty="0" smtClean="0"/>
              <a:t>nd</a:t>
            </a:r>
            <a:r>
              <a:rPr lang="en-US" sz="1200" i="1" dirty="0" smtClean="0"/>
              <a:t> dose.</a:t>
            </a:r>
            <a:endParaRPr lang="en-US" sz="1200" i="1" dirty="0"/>
          </a:p>
        </p:txBody>
      </p:sp>
    </p:spTree>
    <p:extLst>
      <p:ext uri="{BB962C8B-B14F-4D97-AF65-F5344CB8AC3E}">
        <p14:creationId xmlns:p14="http://schemas.microsoft.com/office/powerpoint/2010/main" val="104501280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b="1" dirty="0" smtClean="0"/>
              <a:t>RI Communications Strategy</a:t>
            </a:r>
            <a:endParaRPr lang="en-US" b="1" dirty="0"/>
          </a:p>
        </p:txBody>
      </p:sp>
      <p:sp>
        <p:nvSpPr>
          <p:cNvPr id="5" name="Content Placeholder 4"/>
          <p:cNvSpPr>
            <a:spLocks noGrp="1"/>
          </p:cNvSpPr>
          <p:nvPr>
            <p:ph idx="1"/>
          </p:nvPr>
        </p:nvSpPr>
        <p:spPr>
          <a:xfrm>
            <a:off x="457200" y="1371600"/>
            <a:ext cx="8229600" cy="4754563"/>
          </a:xfrm>
        </p:spPr>
        <p:txBody>
          <a:bodyPr>
            <a:normAutofit fontScale="92500"/>
          </a:bodyPr>
          <a:lstStyle/>
          <a:p>
            <a:r>
              <a:rPr lang="en-US" sz="3000" b="1" dirty="0" smtClean="0"/>
              <a:t>Village structures utilized to mobilize mothers for RI</a:t>
            </a:r>
          </a:p>
          <a:p>
            <a:pPr lvl="1"/>
            <a:r>
              <a:rPr lang="en-US" sz="2600" b="1" dirty="0" smtClean="0"/>
              <a:t>Village health volunteers </a:t>
            </a:r>
          </a:p>
          <a:p>
            <a:pPr lvl="1"/>
            <a:r>
              <a:rPr lang="en-US" sz="2600" b="1" dirty="0" smtClean="0"/>
              <a:t>Village chiefs</a:t>
            </a:r>
          </a:p>
          <a:p>
            <a:pPr lvl="1"/>
            <a:r>
              <a:rPr lang="en-US" sz="2600" b="1" dirty="0" smtClean="0"/>
              <a:t>Village health committees</a:t>
            </a:r>
          </a:p>
          <a:p>
            <a:pPr lvl="1"/>
            <a:r>
              <a:rPr lang="en-US" sz="2600" b="1" dirty="0" smtClean="0"/>
              <a:t>Town criers </a:t>
            </a:r>
          </a:p>
          <a:p>
            <a:r>
              <a:rPr lang="en-US" sz="3000" b="1" dirty="0" smtClean="0"/>
              <a:t>Village structures used to support RI system</a:t>
            </a:r>
          </a:p>
          <a:p>
            <a:pPr lvl="1"/>
            <a:r>
              <a:rPr lang="en-US" sz="2600" b="1" dirty="0" smtClean="0"/>
              <a:t>Vaccine transport</a:t>
            </a:r>
          </a:p>
          <a:p>
            <a:pPr lvl="1"/>
            <a:r>
              <a:rPr lang="en-US" sz="2600" b="1" dirty="0" smtClean="0"/>
              <a:t>Planning location of outreach services</a:t>
            </a:r>
          </a:p>
          <a:p>
            <a:pPr lvl="1"/>
            <a:r>
              <a:rPr lang="en-US" sz="2600" b="1" dirty="0" smtClean="0"/>
              <a:t>Informing mothers of time and location of RI services</a:t>
            </a:r>
          </a:p>
          <a:p>
            <a:pPr lvl="1"/>
            <a:r>
              <a:rPr lang="en-US" sz="2600" b="1" dirty="0" smtClean="0"/>
              <a:t>Finding infants who have dropped out of RI services</a:t>
            </a:r>
          </a:p>
          <a:p>
            <a:pPr lvl="1"/>
            <a:endParaRPr lang="en-US" b="1" dirty="0"/>
          </a:p>
        </p:txBody>
      </p:sp>
    </p:spTree>
    <p:extLst>
      <p:ext uri="{BB962C8B-B14F-4D97-AF65-F5344CB8AC3E}">
        <p14:creationId xmlns:p14="http://schemas.microsoft.com/office/powerpoint/2010/main" val="367484602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ext Box 2"/>
          <p:cNvSpPr txBox="1">
            <a:spLocks noChangeArrowheads="1"/>
          </p:cNvSpPr>
          <p:nvPr/>
        </p:nvSpPr>
        <p:spPr bwMode="auto">
          <a:xfrm>
            <a:off x="533400" y="228600"/>
            <a:ext cx="8229600" cy="1323439"/>
          </a:xfrm>
          <a:prstGeom prst="rect">
            <a:avLst/>
          </a:prstGeom>
          <a:noFill/>
          <a:ln w="9525">
            <a:noFill/>
            <a:miter lim="800000"/>
            <a:headEnd/>
            <a:tailEnd/>
          </a:ln>
          <a:effectLst/>
        </p:spPr>
        <p:txBody>
          <a:bodyPr>
            <a:spAutoFit/>
          </a:bodyPr>
          <a:lstStyle/>
          <a:p>
            <a:pPr algn="ctr" eaLnBrk="0" hangingPunct="0"/>
            <a:r>
              <a:rPr lang="en-GB" sz="4000" b="1" dirty="0">
                <a:latin typeface="+mj-lt"/>
              </a:rPr>
              <a:t>Community </a:t>
            </a:r>
            <a:r>
              <a:rPr lang="en-GB" sz="4000" b="1" dirty="0" smtClean="0">
                <a:latin typeface="+mj-lt"/>
              </a:rPr>
              <a:t>Links: </a:t>
            </a:r>
          </a:p>
          <a:p>
            <a:pPr algn="ctr" eaLnBrk="0" hangingPunct="0"/>
            <a:r>
              <a:rPr lang="en-GB" sz="4000" b="1" dirty="0" smtClean="0">
                <a:latin typeface="+mj-lt"/>
              </a:rPr>
              <a:t>Lady </a:t>
            </a:r>
            <a:r>
              <a:rPr lang="en-GB" sz="4000" b="1" dirty="0">
                <a:latin typeface="+mj-lt"/>
              </a:rPr>
              <a:t>Health Workers in Pakistan</a:t>
            </a:r>
          </a:p>
        </p:txBody>
      </p:sp>
      <p:sp>
        <p:nvSpPr>
          <p:cNvPr id="67587" name="Text Box 3"/>
          <p:cNvSpPr txBox="1">
            <a:spLocks noChangeArrowheads="1"/>
          </p:cNvSpPr>
          <p:nvPr/>
        </p:nvSpPr>
        <p:spPr bwMode="auto">
          <a:xfrm>
            <a:off x="5791200" y="2133600"/>
            <a:ext cx="3352800" cy="3416320"/>
          </a:xfrm>
          <a:prstGeom prst="rect">
            <a:avLst/>
          </a:prstGeom>
          <a:noFill/>
          <a:ln w="9525">
            <a:noFill/>
            <a:miter lim="800000"/>
            <a:headEnd/>
            <a:tailEnd/>
          </a:ln>
          <a:effectLst/>
        </p:spPr>
        <p:txBody>
          <a:bodyPr>
            <a:spAutoFit/>
          </a:bodyPr>
          <a:lstStyle/>
          <a:p>
            <a:pPr eaLnBrk="0" hangingPunct="0">
              <a:spcBef>
                <a:spcPct val="50000"/>
              </a:spcBef>
            </a:pPr>
            <a:r>
              <a:rPr lang="en-GB" sz="2400" b="1" dirty="0"/>
              <a:t>Duties:</a:t>
            </a:r>
          </a:p>
          <a:p>
            <a:pPr eaLnBrk="0" hangingPunct="0">
              <a:spcBef>
                <a:spcPct val="50000"/>
              </a:spcBef>
              <a:buFontTx/>
              <a:buChar char="•"/>
            </a:pPr>
            <a:r>
              <a:rPr lang="en-GB" sz="2400" b="1" dirty="0"/>
              <a:t> </a:t>
            </a:r>
            <a:r>
              <a:rPr lang="en-GB" sz="2400" b="1" dirty="0" smtClean="0"/>
              <a:t>Birth </a:t>
            </a:r>
            <a:r>
              <a:rPr lang="en-GB" sz="2400" b="1" dirty="0"/>
              <a:t>registration</a:t>
            </a:r>
          </a:p>
          <a:p>
            <a:pPr eaLnBrk="0" hangingPunct="0">
              <a:spcBef>
                <a:spcPct val="50000"/>
              </a:spcBef>
              <a:buFontTx/>
              <a:buChar char="•"/>
            </a:pPr>
            <a:r>
              <a:rPr lang="en-GB" sz="2400" b="1" dirty="0"/>
              <a:t> </a:t>
            </a:r>
            <a:r>
              <a:rPr lang="en-GB" sz="2400" b="1" dirty="0" smtClean="0"/>
              <a:t>Defaulter </a:t>
            </a:r>
            <a:r>
              <a:rPr lang="en-GB" sz="2400" b="1" dirty="0"/>
              <a:t>follow-up</a:t>
            </a:r>
          </a:p>
          <a:p>
            <a:pPr eaLnBrk="0" hangingPunct="0">
              <a:spcBef>
                <a:spcPct val="50000"/>
              </a:spcBef>
              <a:buFontTx/>
              <a:buChar char="•"/>
            </a:pPr>
            <a:r>
              <a:rPr lang="en-GB" sz="2400" b="1" dirty="0"/>
              <a:t> </a:t>
            </a:r>
            <a:r>
              <a:rPr lang="en-GB" sz="2400" b="1" dirty="0" smtClean="0"/>
              <a:t>‘Catch-up</a:t>
            </a:r>
            <a:r>
              <a:rPr lang="en-GB" sz="2400" b="1" dirty="0"/>
              <a:t>’ routine immunization (including TT)</a:t>
            </a:r>
          </a:p>
          <a:p>
            <a:pPr eaLnBrk="0" hangingPunct="0">
              <a:spcBef>
                <a:spcPct val="50000"/>
              </a:spcBef>
            </a:pPr>
            <a:endParaRPr lang="en-GB" sz="2400" b="1" dirty="0"/>
          </a:p>
        </p:txBody>
      </p:sp>
      <p:pic>
        <p:nvPicPr>
          <p:cNvPr id="67588" name="Picture 4"/>
          <p:cNvPicPr>
            <a:picLocks noChangeAspect="1" noChangeArrowheads="1"/>
          </p:cNvPicPr>
          <p:nvPr/>
        </p:nvPicPr>
        <p:blipFill>
          <a:blip r:embed="rId3" cstate="email"/>
          <a:srcRect/>
          <a:stretch>
            <a:fillRect/>
          </a:stretch>
        </p:blipFill>
        <p:spPr bwMode="auto">
          <a:xfrm>
            <a:off x="304800" y="1716088"/>
            <a:ext cx="5257800" cy="4149725"/>
          </a:xfrm>
          <a:prstGeom prst="rect">
            <a:avLst/>
          </a:prstGeom>
          <a:noFill/>
          <a:ln w="9525">
            <a:noFill/>
            <a:miter lim="800000"/>
            <a:headEnd/>
            <a:tailEnd/>
          </a:ln>
          <a:effectLst/>
        </p:spPr>
      </p:pic>
    </p:spTree>
    <p:extLst>
      <p:ext uri="{BB962C8B-B14F-4D97-AF65-F5344CB8AC3E}">
        <p14:creationId xmlns:p14="http://schemas.microsoft.com/office/powerpoint/2010/main" val="298434553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Key Communications Messages</a:t>
            </a:r>
            <a:endParaRPr lang="en-US" b="1" dirty="0"/>
          </a:p>
        </p:txBody>
      </p:sp>
      <p:sp>
        <p:nvSpPr>
          <p:cNvPr id="3" name="Content Placeholder 2"/>
          <p:cNvSpPr>
            <a:spLocks noGrp="1"/>
          </p:cNvSpPr>
          <p:nvPr>
            <p:ph idx="1"/>
          </p:nvPr>
        </p:nvSpPr>
        <p:spPr/>
        <p:txBody>
          <a:bodyPr>
            <a:normAutofit fontScale="92500" lnSpcReduction="20000"/>
          </a:bodyPr>
          <a:lstStyle/>
          <a:p>
            <a:r>
              <a:rPr lang="en-US" b="1" dirty="0" smtClean="0"/>
              <a:t>During a vaccination visit</a:t>
            </a:r>
          </a:p>
          <a:p>
            <a:pPr lvl="1"/>
            <a:r>
              <a:rPr lang="en-US" b="1" dirty="0" smtClean="0"/>
              <a:t>Which vaccines were given</a:t>
            </a:r>
          </a:p>
          <a:p>
            <a:pPr lvl="1"/>
            <a:r>
              <a:rPr lang="en-US" b="1" dirty="0" smtClean="0"/>
              <a:t>When and where to return for next vaccination</a:t>
            </a:r>
          </a:p>
          <a:p>
            <a:pPr lvl="1"/>
            <a:r>
              <a:rPr lang="en-US" b="1" dirty="0" smtClean="0"/>
              <a:t>The potential adverse events that may occur</a:t>
            </a:r>
          </a:p>
          <a:p>
            <a:pPr lvl="1"/>
            <a:r>
              <a:rPr lang="en-US" b="1" dirty="0" smtClean="0"/>
              <a:t>Importance of vaccination</a:t>
            </a:r>
          </a:p>
          <a:p>
            <a:r>
              <a:rPr lang="en-US" b="1" dirty="0" smtClean="0"/>
              <a:t>During a community meeting</a:t>
            </a:r>
          </a:p>
          <a:p>
            <a:pPr lvl="1"/>
            <a:r>
              <a:rPr lang="en-US" b="1" dirty="0" smtClean="0"/>
              <a:t>When and where outreach sessions should/will happen</a:t>
            </a:r>
          </a:p>
          <a:p>
            <a:pPr lvl="1"/>
            <a:r>
              <a:rPr lang="en-US" b="1" dirty="0" smtClean="0"/>
              <a:t>When and where fixed sessions happen</a:t>
            </a:r>
          </a:p>
          <a:p>
            <a:pPr lvl="1"/>
            <a:r>
              <a:rPr lang="en-US" b="1" dirty="0" smtClean="0"/>
              <a:t>“Special” vaccination days (e.g. for measles, BCG, YF)</a:t>
            </a:r>
          </a:p>
          <a:p>
            <a:pPr lvl="1"/>
            <a:r>
              <a:rPr lang="en-US" b="1" dirty="0" smtClean="0"/>
              <a:t>Importance of vaccination</a:t>
            </a:r>
          </a:p>
          <a:p>
            <a:pPr lvl="1"/>
            <a:endParaRPr lang="en-US" b="1" dirty="0"/>
          </a:p>
        </p:txBody>
      </p:sp>
    </p:spTree>
    <p:extLst>
      <p:ext uri="{BB962C8B-B14F-4D97-AF65-F5344CB8AC3E}">
        <p14:creationId xmlns:p14="http://schemas.microsoft.com/office/powerpoint/2010/main" val="40190349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tangle 4"/>
          <p:cNvSpPr>
            <a:spLocks noGrp="1" noChangeArrowheads="1"/>
          </p:cNvSpPr>
          <p:nvPr>
            <p:ph type="ctrTitle"/>
          </p:nvPr>
        </p:nvSpPr>
        <p:spPr>
          <a:xfrm>
            <a:off x="914400" y="1295400"/>
            <a:ext cx="7623175" cy="1752600"/>
          </a:xfrm>
        </p:spPr>
        <p:txBody>
          <a:bodyPr>
            <a:normAutofit fontScale="90000"/>
          </a:bodyPr>
          <a:lstStyle/>
          <a:p>
            <a:r>
              <a:rPr lang="en-US" sz="4600" b="1" dirty="0" smtClean="0"/>
              <a:t>Strategies For Strengthening the Routine Immunization System</a:t>
            </a:r>
            <a:endParaRPr lang="en-US" sz="4600" b="1" dirty="0"/>
          </a:p>
        </p:txBody>
      </p:sp>
      <p:pic>
        <p:nvPicPr>
          <p:cNvPr id="70662" name="Picture 6"/>
          <p:cNvPicPr>
            <a:picLocks noGrp="1" noChangeAspect="1" noChangeArrowheads="1"/>
          </p:cNvPicPr>
          <p:nvPr>
            <p:ph type="subTitle" idx="1"/>
          </p:nvPr>
        </p:nvPicPr>
        <p:blipFill>
          <a:blip r:embed="rId2" cstate="email"/>
          <a:stretch>
            <a:fillRect/>
          </a:stretch>
        </p:blipFill>
        <p:spPr>
          <a:xfrm>
            <a:off x="4724400" y="3581400"/>
            <a:ext cx="2171700" cy="1504950"/>
          </a:xfrm>
          <a:noFill/>
          <a:ln/>
        </p:spPr>
      </p:pic>
      <p:pic>
        <p:nvPicPr>
          <p:cNvPr id="70663" name="Picture 7" descr="DSC_0267"/>
          <p:cNvPicPr>
            <a:picLocks noChangeAspect="1" noChangeArrowheads="1"/>
          </p:cNvPicPr>
          <p:nvPr/>
        </p:nvPicPr>
        <p:blipFill>
          <a:blip r:embed="rId3" cstate="email"/>
          <a:srcRect/>
          <a:stretch>
            <a:fillRect/>
          </a:stretch>
        </p:blipFill>
        <p:spPr bwMode="auto">
          <a:xfrm>
            <a:off x="228600" y="2971800"/>
            <a:ext cx="4495800" cy="2989263"/>
          </a:xfrm>
          <a:prstGeom prst="rect">
            <a:avLst/>
          </a:prstGeom>
          <a:noFill/>
          <a:ln>
            <a:solidFill>
              <a:schemeClr val="tx1"/>
            </a:solidFill>
          </a:ln>
        </p:spPr>
      </p:pic>
    </p:spTree>
    <p:extLst>
      <p:ext uri="{BB962C8B-B14F-4D97-AF65-F5344CB8AC3E}">
        <p14:creationId xmlns:p14="http://schemas.microsoft.com/office/powerpoint/2010/main" val="16251582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Common Barriers to High RI Coverage</a:t>
            </a:r>
            <a:endParaRPr lang="en-US" b="1" dirty="0"/>
          </a:p>
        </p:txBody>
      </p:sp>
      <p:sp>
        <p:nvSpPr>
          <p:cNvPr id="3" name="Content Placeholder 2"/>
          <p:cNvSpPr>
            <a:spLocks noGrp="1"/>
          </p:cNvSpPr>
          <p:nvPr>
            <p:ph idx="1"/>
          </p:nvPr>
        </p:nvSpPr>
        <p:spPr>
          <a:xfrm>
            <a:off x="457200" y="1600200"/>
            <a:ext cx="8229600" cy="5105400"/>
          </a:xfrm>
        </p:spPr>
        <p:txBody>
          <a:bodyPr>
            <a:normAutofit fontScale="85000" lnSpcReduction="10000"/>
          </a:bodyPr>
          <a:lstStyle/>
          <a:p>
            <a:r>
              <a:rPr lang="en-US" b="1" dirty="0"/>
              <a:t>C</a:t>
            </a:r>
            <a:r>
              <a:rPr lang="en-US" b="1" dirty="0" smtClean="0"/>
              <a:t>ommon reasons for low coverage</a:t>
            </a:r>
          </a:p>
          <a:p>
            <a:pPr lvl="1"/>
            <a:r>
              <a:rPr lang="en-US" b="1" dirty="0" smtClean="0"/>
              <a:t>Poor access</a:t>
            </a:r>
          </a:p>
          <a:p>
            <a:pPr lvl="2"/>
            <a:r>
              <a:rPr lang="en-US" b="1" dirty="0" smtClean="0"/>
              <a:t>Facility too far; no staff; no vaccine; no equipment</a:t>
            </a:r>
          </a:p>
          <a:p>
            <a:pPr lvl="1"/>
            <a:r>
              <a:rPr lang="en-US" b="1" dirty="0" smtClean="0"/>
              <a:t>High dropout / poor utilization</a:t>
            </a:r>
          </a:p>
          <a:p>
            <a:pPr lvl="2"/>
            <a:r>
              <a:rPr lang="en-US" b="1" dirty="0" smtClean="0"/>
              <a:t>Access factors; plus poor beneficiary-vaccinator communications</a:t>
            </a:r>
          </a:p>
          <a:p>
            <a:pPr lvl="1"/>
            <a:r>
              <a:rPr lang="en-US" b="1" dirty="0" smtClean="0"/>
              <a:t>Missed opportunities</a:t>
            </a:r>
          </a:p>
          <a:p>
            <a:pPr lvl="2"/>
            <a:r>
              <a:rPr lang="en-US" b="1" dirty="0" smtClean="0"/>
              <a:t>Wastage concerns; vaccination status not checked; vaccine stockouts</a:t>
            </a:r>
          </a:p>
          <a:p>
            <a:pPr lvl="1"/>
            <a:r>
              <a:rPr lang="en-US" b="1" dirty="0" smtClean="0"/>
              <a:t>Poor management</a:t>
            </a:r>
          </a:p>
          <a:p>
            <a:pPr lvl="2"/>
            <a:r>
              <a:rPr lang="en-US" b="1" dirty="0" err="1" smtClean="0"/>
              <a:t>Indequate</a:t>
            </a:r>
            <a:r>
              <a:rPr lang="en-US" b="1" dirty="0" smtClean="0"/>
              <a:t> resource management; no supervision; poor planning of immunization sessions</a:t>
            </a:r>
          </a:p>
          <a:p>
            <a:pPr lvl="1"/>
            <a:r>
              <a:rPr lang="en-US" b="1" dirty="0" smtClean="0"/>
              <a:t>Community barriers</a:t>
            </a:r>
          </a:p>
          <a:p>
            <a:pPr lvl="2"/>
            <a:r>
              <a:rPr lang="en-US" b="1" dirty="0" smtClean="0"/>
              <a:t>Poor social mobilization; vaccine refusals; no community participation</a:t>
            </a:r>
            <a:endParaRPr lang="en-US" b="1" dirty="0"/>
          </a:p>
        </p:txBody>
      </p:sp>
    </p:spTree>
    <p:extLst>
      <p:ext uri="{BB962C8B-B14F-4D97-AF65-F5344CB8AC3E}">
        <p14:creationId xmlns:p14="http://schemas.microsoft.com/office/powerpoint/2010/main" val="409857400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Reach Every District (RED) Strategy</a:t>
            </a:r>
            <a:endParaRPr lang="en-US" b="1" dirty="0"/>
          </a:p>
        </p:txBody>
      </p:sp>
      <p:sp>
        <p:nvSpPr>
          <p:cNvPr id="3" name="Content Placeholder 2"/>
          <p:cNvSpPr>
            <a:spLocks noGrp="1"/>
          </p:cNvSpPr>
          <p:nvPr>
            <p:ph idx="1"/>
          </p:nvPr>
        </p:nvSpPr>
        <p:spPr>
          <a:xfrm>
            <a:off x="457200" y="1600200"/>
            <a:ext cx="8229600" cy="4876800"/>
          </a:xfrm>
        </p:spPr>
        <p:txBody>
          <a:bodyPr>
            <a:noAutofit/>
          </a:bodyPr>
          <a:lstStyle/>
          <a:p>
            <a:r>
              <a:rPr lang="en-US" sz="2800" b="1" dirty="0" smtClean="0"/>
              <a:t>Began in early 2000s in response to stagnant coverage levels</a:t>
            </a:r>
          </a:p>
          <a:p>
            <a:r>
              <a:rPr lang="en-US" sz="2800" b="1" dirty="0" smtClean="0"/>
              <a:t>Primary objective when implementing RED: Ensure all RED components occur regularly</a:t>
            </a:r>
          </a:p>
        </p:txBody>
      </p:sp>
    </p:spTree>
    <p:extLst>
      <p:ext uri="{BB962C8B-B14F-4D97-AF65-F5344CB8AC3E}">
        <p14:creationId xmlns:p14="http://schemas.microsoft.com/office/powerpoint/2010/main" val="229355166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RED Strategy Components</a:t>
            </a:r>
            <a:endParaRPr lang="en-US" b="1" dirty="0"/>
          </a:p>
        </p:txBody>
      </p:sp>
      <p:sp>
        <p:nvSpPr>
          <p:cNvPr id="3" name="Content Placeholder 2"/>
          <p:cNvSpPr>
            <a:spLocks noGrp="1"/>
          </p:cNvSpPr>
          <p:nvPr>
            <p:ph idx="1"/>
          </p:nvPr>
        </p:nvSpPr>
        <p:spPr>
          <a:xfrm>
            <a:off x="457200" y="1600200"/>
            <a:ext cx="8610600" cy="4876800"/>
          </a:xfrm>
        </p:spPr>
        <p:txBody>
          <a:bodyPr>
            <a:noAutofit/>
          </a:bodyPr>
          <a:lstStyle/>
          <a:p>
            <a:pPr marL="514350" indent="-514350">
              <a:buFont typeface="+mj-lt"/>
              <a:buAutoNum type="arabicPeriod"/>
            </a:pPr>
            <a:r>
              <a:rPr lang="en-US" sz="2800" b="1" dirty="0" smtClean="0"/>
              <a:t>Outreach</a:t>
            </a:r>
          </a:p>
          <a:p>
            <a:pPr lvl="1"/>
            <a:r>
              <a:rPr lang="en-US" sz="2400" b="1" dirty="0" smtClean="0"/>
              <a:t>Create maps, identify villages for outreach, create outreach plan, track sessions planned vs conducted</a:t>
            </a:r>
          </a:p>
          <a:p>
            <a:pPr marL="514350" indent="-514350">
              <a:buFont typeface="+mj-lt"/>
              <a:buAutoNum type="arabicPeriod"/>
            </a:pPr>
            <a:r>
              <a:rPr lang="en-US" sz="2800" b="1" dirty="0" smtClean="0"/>
              <a:t>Supportive supervision</a:t>
            </a:r>
          </a:p>
          <a:p>
            <a:pPr lvl="1"/>
            <a:r>
              <a:rPr lang="en-US" sz="2400" b="1" dirty="0" smtClean="0"/>
              <a:t>Ensure supervision is two-way dialogue, solves vaccinator’s problems.  Tracks visits planned versus conducted</a:t>
            </a:r>
            <a:endParaRPr lang="en-US" sz="2400" b="1" dirty="0"/>
          </a:p>
          <a:p>
            <a:pPr marL="514350" indent="-514350">
              <a:buFont typeface="+mj-lt"/>
              <a:buAutoNum type="arabicPeriod"/>
            </a:pPr>
            <a:r>
              <a:rPr lang="en-US" sz="2800" b="1" dirty="0"/>
              <a:t>Community Links</a:t>
            </a:r>
          </a:p>
          <a:p>
            <a:pPr lvl="1"/>
            <a:r>
              <a:rPr lang="en-US" sz="2400" b="1" dirty="0"/>
              <a:t>Maintain regular dialogue with village leaders and </a:t>
            </a:r>
            <a:r>
              <a:rPr lang="en-US" sz="2400" b="1" dirty="0" smtClean="0"/>
              <a:t>identify </a:t>
            </a:r>
            <a:r>
              <a:rPr lang="en-US" sz="2400" b="1" dirty="0"/>
              <a:t>social mobilizer focal </a:t>
            </a:r>
            <a:r>
              <a:rPr lang="en-US" sz="2400" b="1" dirty="0" smtClean="0"/>
              <a:t>point</a:t>
            </a:r>
            <a:endParaRPr lang="en-US" sz="2400" b="1" dirty="0"/>
          </a:p>
        </p:txBody>
      </p:sp>
    </p:spTree>
    <p:extLst>
      <p:ext uri="{BB962C8B-B14F-4D97-AF65-F5344CB8AC3E}">
        <p14:creationId xmlns:p14="http://schemas.microsoft.com/office/powerpoint/2010/main" val="90830384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RED Strategy Components</a:t>
            </a:r>
            <a:endParaRPr lang="en-US" b="1" dirty="0"/>
          </a:p>
        </p:txBody>
      </p:sp>
      <p:sp>
        <p:nvSpPr>
          <p:cNvPr id="3" name="Content Placeholder 2"/>
          <p:cNvSpPr>
            <a:spLocks noGrp="1"/>
          </p:cNvSpPr>
          <p:nvPr>
            <p:ph idx="1"/>
          </p:nvPr>
        </p:nvSpPr>
        <p:spPr>
          <a:xfrm>
            <a:off x="457200" y="1600200"/>
            <a:ext cx="8610600" cy="4876800"/>
          </a:xfrm>
        </p:spPr>
        <p:txBody>
          <a:bodyPr>
            <a:noAutofit/>
          </a:bodyPr>
          <a:lstStyle/>
          <a:p>
            <a:pPr marL="514350" indent="-514350">
              <a:buFont typeface="+mj-lt"/>
              <a:buAutoNum type="arabicPeriod" startAt="4"/>
            </a:pPr>
            <a:r>
              <a:rPr lang="en-US" sz="2800" b="1" dirty="0" smtClean="0"/>
              <a:t>Monitor </a:t>
            </a:r>
            <a:r>
              <a:rPr lang="en-US" sz="2800" b="1" dirty="0"/>
              <a:t>&amp; Use Data For Action</a:t>
            </a:r>
          </a:p>
          <a:p>
            <a:pPr lvl="1"/>
            <a:r>
              <a:rPr lang="en-US" sz="2400" b="1" dirty="0"/>
              <a:t>Accurately monitor key RI information (coverage, dropout) and use </a:t>
            </a:r>
            <a:r>
              <a:rPr lang="en-US" sz="2400" b="1" dirty="0" smtClean="0"/>
              <a:t>to </a:t>
            </a:r>
            <a:r>
              <a:rPr lang="en-US" sz="2400" b="1" dirty="0"/>
              <a:t>identify and remedy low performing areas</a:t>
            </a:r>
          </a:p>
          <a:p>
            <a:pPr marL="514350" indent="-514350">
              <a:buFont typeface="+mj-lt"/>
              <a:buAutoNum type="arabicPeriod" startAt="5"/>
            </a:pPr>
            <a:r>
              <a:rPr lang="en-US" sz="2800" b="1" dirty="0"/>
              <a:t>Planning</a:t>
            </a:r>
          </a:p>
          <a:p>
            <a:pPr lvl="1"/>
            <a:r>
              <a:rPr lang="en-US" sz="2400" b="1" dirty="0"/>
              <a:t>Create “living” </a:t>
            </a:r>
            <a:r>
              <a:rPr lang="en-US" sz="2400" b="1" dirty="0" err="1"/>
              <a:t>microplans</a:t>
            </a:r>
            <a:r>
              <a:rPr lang="en-US" sz="2400" b="1" dirty="0"/>
              <a:t>: Plan fixed and outreach session schedules, forecast vaccine needs, plan community meetings, monitor performance and identify low performing areas</a:t>
            </a:r>
          </a:p>
          <a:p>
            <a:pPr lvl="1"/>
            <a:endParaRPr lang="en-US" b="1" dirty="0" smtClean="0"/>
          </a:p>
        </p:txBody>
      </p:sp>
    </p:spTree>
    <p:extLst>
      <p:ext uri="{BB962C8B-B14F-4D97-AF65-F5344CB8AC3E}">
        <p14:creationId xmlns:p14="http://schemas.microsoft.com/office/powerpoint/2010/main" val="84097652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2"/>
          <p:cNvSpPr>
            <a:spLocks noGrp="1" noChangeArrowheads="1"/>
          </p:cNvSpPr>
          <p:nvPr>
            <p:ph type="title"/>
          </p:nvPr>
        </p:nvSpPr>
        <p:spPr/>
        <p:txBody>
          <a:bodyPr>
            <a:normAutofit fontScale="90000"/>
          </a:bodyPr>
          <a:lstStyle/>
          <a:p>
            <a:r>
              <a:rPr lang="en-US" sz="3800" b="1" dirty="0" smtClean="0"/>
              <a:t>Reaching </a:t>
            </a:r>
            <a:r>
              <a:rPr lang="en-US" sz="3800" b="1" dirty="0"/>
              <a:t>Every District (RED) strategy </a:t>
            </a:r>
            <a:r>
              <a:rPr lang="en-US" sz="3800" b="1" dirty="0" smtClean="0"/>
              <a:t>designed to address common RI barriers</a:t>
            </a:r>
            <a:endParaRPr lang="en-US" sz="3800" b="1" dirty="0"/>
          </a:p>
        </p:txBody>
      </p:sp>
      <p:graphicFrame>
        <p:nvGraphicFramePr>
          <p:cNvPr id="169987" name="Group 3"/>
          <p:cNvGraphicFramePr>
            <a:graphicFrameLocks noGrp="1"/>
          </p:cNvGraphicFramePr>
          <p:nvPr>
            <p:ph idx="1"/>
            <p:extLst>
              <p:ext uri="{D42A27DB-BD31-4B8C-83A1-F6EECF244321}">
                <p14:modId xmlns:p14="http://schemas.microsoft.com/office/powerpoint/2010/main" val="4258174588"/>
              </p:ext>
            </p:extLst>
          </p:nvPr>
        </p:nvGraphicFramePr>
        <p:xfrm>
          <a:off x="228600" y="1560092"/>
          <a:ext cx="8686800" cy="5052379"/>
        </p:xfrm>
        <a:graphic>
          <a:graphicData uri="http://schemas.openxmlformats.org/drawingml/2006/table">
            <a:tbl>
              <a:tblPr/>
              <a:tblGrid>
                <a:gridCol w="1930400"/>
                <a:gridCol w="1041400"/>
                <a:gridCol w="1524000"/>
                <a:gridCol w="1219200"/>
                <a:gridCol w="1371600"/>
                <a:gridCol w="1600200"/>
              </a:tblGrid>
              <a:tr h="754063">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2000" b="0" i="0" u="none" strike="noStrike" cap="none" normalizeH="0" baseline="0" dirty="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smtClean="0">
                          <a:ln>
                            <a:noFill/>
                          </a:ln>
                          <a:solidFill>
                            <a:schemeClr val="tx1"/>
                          </a:solidFill>
                          <a:effectLst/>
                          <a:latin typeface="Arial" charset="0"/>
                        </a:rPr>
                        <a:t>Poor acces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smtClean="0">
                          <a:ln>
                            <a:noFill/>
                          </a:ln>
                          <a:solidFill>
                            <a:schemeClr val="tx1"/>
                          </a:solidFill>
                          <a:effectLst/>
                          <a:latin typeface="Arial" charset="0"/>
                        </a:rPr>
                        <a:t>High dropout/ poor utiliz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smtClean="0">
                          <a:ln>
                            <a:noFill/>
                          </a:ln>
                          <a:solidFill>
                            <a:schemeClr val="tx1"/>
                          </a:solidFill>
                          <a:effectLst/>
                          <a:latin typeface="Arial" charset="0"/>
                        </a:rPr>
                        <a:t>Missed </a:t>
                      </a:r>
                    </a:p>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smtClean="0">
                          <a:ln>
                            <a:noFill/>
                          </a:ln>
                          <a:solidFill>
                            <a:schemeClr val="tx1"/>
                          </a:solidFill>
                          <a:effectLst/>
                          <a:latin typeface="Arial" charset="0"/>
                        </a:rPr>
                        <a:t>Oppor-</a:t>
                      </a:r>
                    </a:p>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smtClean="0">
                          <a:ln>
                            <a:noFill/>
                          </a:ln>
                          <a:solidFill>
                            <a:schemeClr val="tx1"/>
                          </a:solidFill>
                          <a:effectLst/>
                          <a:latin typeface="Arial" charset="0"/>
                        </a:rPr>
                        <a:t>tuniti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smtClean="0">
                          <a:ln>
                            <a:noFill/>
                          </a:ln>
                          <a:solidFill>
                            <a:schemeClr val="tx1"/>
                          </a:solidFill>
                          <a:effectLst/>
                          <a:latin typeface="Arial" charset="0"/>
                        </a:rPr>
                        <a:t>Manage-m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smtClean="0">
                          <a:ln>
                            <a:noFill/>
                          </a:ln>
                          <a:solidFill>
                            <a:schemeClr val="tx1"/>
                          </a:solidFill>
                          <a:effectLst/>
                          <a:latin typeface="Arial" charset="0"/>
                        </a:rPr>
                        <a:t>Community barrier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smtClean="0">
                          <a:ln>
                            <a:noFill/>
                          </a:ln>
                          <a:solidFill>
                            <a:schemeClr val="tx1"/>
                          </a:solidFill>
                          <a:effectLst/>
                          <a:latin typeface="Arial" charset="0"/>
                        </a:rPr>
                        <a:t>Outreach</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5650">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smtClean="0">
                          <a:ln>
                            <a:noFill/>
                          </a:ln>
                          <a:solidFill>
                            <a:schemeClr val="tx1"/>
                          </a:solidFill>
                          <a:effectLst/>
                          <a:latin typeface="Arial" charset="0"/>
                        </a:rPr>
                        <a:t>Supportive supervis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smtClean="0">
                          <a:ln>
                            <a:noFill/>
                          </a:ln>
                          <a:solidFill>
                            <a:schemeClr val="tx1"/>
                          </a:solidFill>
                          <a:effectLst/>
                          <a:latin typeface="Arial" charset="0"/>
                        </a:rPr>
                        <a:t>Community link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2600" b="0"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smtClean="0">
                          <a:ln>
                            <a:noFill/>
                          </a:ln>
                          <a:solidFill>
                            <a:schemeClr val="tx1"/>
                          </a:solidFill>
                          <a:effectLst/>
                          <a:latin typeface="Arial" charset="0"/>
                        </a:rPr>
                        <a:t>Monitoring, use of data</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3900">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000" b="0" i="0" u="none" strike="noStrike" cap="none" normalizeH="0" baseline="0" dirty="0" smtClean="0">
                          <a:ln>
                            <a:noFill/>
                          </a:ln>
                          <a:solidFill>
                            <a:schemeClr val="tx1"/>
                          </a:solidFill>
                          <a:effectLst/>
                          <a:latin typeface="Arial" charset="0"/>
                        </a:rPr>
                        <a:t>Planning &amp; Managemen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2600" b="0" i="0" u="none" strike="noStrike" cap="none" normalizeH="0" baseline="0" dirty="0" smtClean="0">
                          <a:ln>
                            <a:noFill/>
                          </a:ln>
                          <a:solidFill>
                            <a:schemeClr val="tx1"/>
                          </a:solidFill>
                          <a:effectLst/>
                          <a:latin typeface="Arial" charset="0"/>
                        </a:rPr>
                        <a:t>+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65899083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How is RED operationalized?</a:t>
            </a:r>
            <a:endParaRPr lang="en-US" b="1" dirty="0"/>
          </a:p>
        </p:txBody>
      </p:sp>
      <p:sp>
        <p:nvSpPr>
          <p:cNvPr id="3" name="Content Placeholder 2"/>
          <p:cNvSpPr>
            <a:spLocks noGrp="1"/>
          </p:cNvSpPr>
          <p:nvPr>
            <p:ph idx="1"/>
          </p:nvPr>
        </p:nvSpPr>
        <p:spPr/>
        <p:txBody>
          <a:bodyPr>
            <a:normAutofit fontScale="70000" lnSpcReduction="20000"/>
          </a:bodyPr>
          <a:lstStyle/>
          <a:p>
            <a:r>
              <a:rPr lang="en-US" b="1" dirty="0" smtClean="0"/>
              <a:t>Countries will</a:t>
            </a:r>
          </a:p>
          <a:p>
            <a:pPr lvl="1"/>
            <a:r>
              <a:rPr lang="en-US" b="1" dirty="0"/>
              <a:t>C</a:t>
            </a:r>
            <a:r>
              <a:rPr lang="en-US" b="1" dirty="0" smtClean="0"/>
              <a:t>onduct annual or biannual “RED” trainings</a:t>
            </a:r>
          </a:p>
          <a:p>
            <a:pPr lvl="1"/>
            <a:r>
              <a:rPr lang="en-US" b="1" dirty="0"/>
              <a:t>M</a:t>
            </a:r>
            <a:r>
              <a:rPr lang="en-US" b="1" dirty="0" smtClean="0"/>
              <a:t>onitor performance indicators at a district level</a:t>
            </a:r>
          </a:p>
          <a:p>
            <a:pPr lvl="2"/>
            <a:r>
              <a:rPr lang="en-US" b="1" dirty="0" smtClean="0"/>
              <a:t>Example: Number of districts with 90% coverage</a:t>
            </a:r>
          </a:p>
          <a:p>
            <a:pPr lvl="1"/>
            <a:r>
              <a:rPr lang="en-US" b="1" dirty="0"/>
              <a:t>M</a:t>
            </a:r>
            <a:r>
              <a:rPr lang="en-US" b="1" dirty="0" smtClean="0"/>
              <a:t>onitor &amp; report multiple process indicators related to RED implementation</a:t>
            </a:r>
          </a:p>
          <a:p>
            <a:pPr lvl="2"/>
            <a:r>
              <a:rPr lang="en-US" b="1" dirty="0" smtClean="0"/>
              <a:t>Example: proportion of outreach sessions conducted or planned</a:t>
            </a:r>
          </a:p>
          <a:p>
            <a:pPr lvl="1"/>
            <a:r>
              <a:rPr lang="en-US" b="1" dirty="0" smtClean="0"/>
              <a:t>Develop national action plans around RED strategies</a:t>
            </a:r>
          </a:p>
          <a:p>
            <a:pPr marL="914400" lvl="2" indent="0">
              <a:buNone/>
            </a:pPr>
            <a:endParaRPr lang="en-US" b="1" dirty="0" smtClean="0"/>
          </a:p>
          <a:p>
            <a:r>
              <a:rPr lang="en-US" b="1" dirty="0" smtClean="0"/>
              <a:t>Global partners provide funding directed at RED activities</a:t>
            </a:r>
          </a:p>
          <a:p>
            <a:pPr lvl="1"/>
            <a:r>
              <a:rPr lang="en-US" b="1" dirty="0" smtClean="0"/>
              <a:t>Example: Fuel for outreach sessions, supervision visits</a:t>
            </a:r>
          </a:p>
          <a:p>
            <a:pPr lvl="1"/>
            <a:endParaRPr lang="en-US" b="1" dirty="0" smtClean="0"/>
          </a:p>
          <a:p>
            <a:r>
              <a:rPr lang="en-US" b="1" dirty="0"/>
              <a:t>African Region RED Guide: </a:t>
            </a:r>
            <a:r>
              <a:rPr lang="en-US" b="1" dirty="0">
                <a:hlinkClick r:id="rId2"/>
              </a:rPr>
              <a:t>http://www.who.int/entity/immunization_delivery/systems_policy/AFRO-RED_Aug2008.pdf</a:t>
            </a:r>
            <a:endParaRPr lang="en-US" b="1" dirty="0"/>
          </a:p>
          <a:p>
            <a:pPr lvl="1"/>
            <a:endParaRPr lang="en-US" b="1" dirty="0" smtClean="0"/>
          </a:p>
        </p:txBody>
      </p:sp>
    </p:spTree>
    <p:extLst>
      <p:ext uri="{BB962C8B-B14F-4D97-AF65-F5344CB8AC3E}">
        <p14:creationId xmlns:p14="http://schemas.microsoft.com/office/powerpoint/2010/main" val="2279128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304800" y="0"/>
            <a:ext cx="8839200" cy="1371600"/>
          </a:xfrm>
        </p:spPr>
        <p:txBody>
          <a:bodyPr/>
          <a:lstStyle/>
          <a:p>
            <a:r>
              <a:rPr lang="en-US" sz="3300" b="1" dirty="0" smtClean="0"/>
              <a:t>Routine Schedules Do Vary By Country</a:t>
            </a:r>
            <a:endParaRPr lang="en-US" sz="3800" b="1" dirty="0"/>
          </a:p>
        </p:txBody>
      </p:sp>
      <p:graphicFrame>
        <p:nvGraphicFramePr>
          <p:cNvPr id="13378" name="Group 66"/>
          <p:cNvGraphicFramePr>
            <a:graphicFrameLocks noGrp="1"/>
          </p:cNvGraphicFramePr>
          <p:nvPr>
            <p:ph type="tbl" idx="1"/>
            <p:extLst>
              <p:ext uri="{D42A27DB-BD31-4B8C-83A1-F6EECF244321}">
                <p14:modId xmlns:p14="http://schemas.microsoft.com/office/powerpoint/2010/main" val="3548407115"/>
              </p:ext>
            </p:extLst>
          </p:nvPr>
        </p:nvGraphicFramePr>
        <p:xfrm>
          <a:off x="381000" y="1219200"/>
          <a:ext cx="8229600" cy="4478339"/>
        </p:xfrm>
        <a:graphic>
          <a:graphicData uri="http://schemas.openxmlformats.org/drawingml/2006/table">
            <a:tbl>
              <a:tblPr/>
              <a:tblGrid>
                <a:gridCol w="1597025"/>
                <a:gridCol w="2378075"/>
                <a:gridCol w="2260600"/>
                <a:gridCol w="1993900"/>
              </a:tblGrid>
              <a:tr h="376996">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Age</a:t>
                      </a:r>
                    </a:p>
                  </a:txBody>
                  <a:tcPr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smtClean="0">
                          <a:ln>
                            <a:noFill/>
                          </a:ln>
                          <a:solidFill>
                            <a:schemeClr val="tx1"/>
                          </a:solidFill>
                          <a:effectLst/>
                          <a:latin typeface="Arial" charset="0"/>
                        </a:rPr>
                        <a:t>Bangladesh</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smtClean="0">
                          <a:ln>
                            <a:noFill/>
                          </a:ln>
                          <a:solidFill>
                            <a:schemeClr val="tx1"/>
                          </a:solidFill>
                          <a:effectLst/>
                          <a:latin typeface="Arial" charset="0"/>
                        </a:rPr>
                        <a:t>Kenya</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Haiti</a:t>
                      </a:r>
                    </a:p>
                  </a:txBody>
                  <a:tcPr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66993">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smtClean="0">
                          <a:ln>
                            <a:noFill/>
                          </a:ln>
                          <a:solidFill>
                            <a:schemeClr val="tx1"/>
                          </a:solidFill>
                          <a:effectLst/>
                          <a:latin typeface="Arial" charset="0"/>
                        </a:rPr>
                        <a:t>Birth</a:t>
                      </a:r>
                    </a:p>
                  </a:txBody>
                  <a:tcPr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smtClean="0">
                          <a:ln>
                            <a:noFill/>
                          </a:ln>
                          <a:solidFill>
                            <a:schemeClr val="tx1"/>
                          </a:solidFill>
                          <a:effectLst/>
                          <a:latin typeface="Arial" charset="0"/>
                        </a:rPr>
                        <a:t>BCG</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smtClean="0">
                          <a:ln>
                            <a:noFill/>
                          </a:ln>
                          <a:solidFill>
                            <a:schemeClr val="tx1"/>
                          </a:solidFill>
                          <a:effectLst/>
                          <a:latin typeface="Arial" charset="0"/>
                        </a:rPr>
                        <a:t>BCG, OPV0</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BCG, OPV0</a:t>
                      </a:r>
                    </a:p>
                  </a:txBody>
                  <a:tcPr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66993">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smtClean="0">
                          <a:ln>
                            <a:noFill/>
                          </a:ln>
                          <a:solidFill>
                            <a:schemeClr val="tx1"/>
                          </a:solidFill>
                          <a:effectLst/>
                          <a:latin typeface="Arial" charset="0"/>
                        </a:rPr>
                        <a:t>6 weeks</a:t>
                      </a:r>
                    </a:p>
                  </a:txBody>
                  <a:tcPr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Penta1, OPV1</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Penta1, OPV1, PCV1</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DTP1, OPV1</a:t>
                      </a:r>
                    </a:p>
                  </a:txBody>
                  <a:tcPr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66993">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10 weeks </a:t>
                      </a:r>
                    </a:p>
                  </a:txBody>
                  <a:tcPr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Penta2, OPV2</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Penta2, OPV2, PCV2</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smtClean="0">
                          <a:ln>
                            <a:noFill/>
                          </a:ln>
                          <a:solidFill>
                            <a:schemeClr val="tx1"/>
                          </a:solidFill>
                          <a:effectLst/>
                          <a:latin typeface="Arial" charset="0"/>
                        </a:rPr>
                        <a:t>DTP2, OPV2</a:t>
                      </a:r>
                    </a:p>
                  </a:txBody>
                  <a:tcPr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80878">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smtClean="0">
                          <a:ln>
                            <a:noFill/>
                          </a:ln>
                          <a:solidFill>
                            <a:schemeClr val="tx1"/>
                          </a:solidFill>
                          <a:effectLst/>
                          <a:latin typeface="Arial" charset="0"/>
                        </a:rPr>
                        <a:t>14 weeks</a:t>
                      </a:r>
                    </a:p>
                  </a:txBody>
                  <a:tcPr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Penta3, OPV3</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Penta3, OPV3, PCV3</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DTP3, OPV3</a:t>
                      </a:r>
                    </a:p>
                  </a:txBody>
                  <a:tcPr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2493">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smtClean="0">
                          <a:ln>
                            <a:noFill/>
                          </a:ln>
                          <a:solidFill>
                            <a:schemeClr val="tx1"/>
                          </a:solidFill>
                          <a:effectLst/>
                          <a:latin typeface="Arial" charset="0"/>
                        </a:rPr>
                        <a:t>36 weeks</a:t>
                      </a:r>
                    </a:p>
                  </a:txBody>
                  <a:tcPr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OPV4, Measles</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8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800" b="1" i="0" u="none" strike="noStrike" cap="none" normalizeH="0" baseline="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66993">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smtClean="0">
                          <a:ln>
                            <a:noFill/>
                          </a:ln>
                          <a:solidFill>
                            <a:schemeClr val="tx1"/>
                          </a:solidFill>
                          <a:effectLst/>
                          <a:latin typeface="Arial" charset="0"/>
                        </a:rPr>
                        <a:t>9 months</a:t>
                      </a:r>
                    </a:p>
                  </a:txBody>
                  <a:tcPr anchor="ctr" anchorCtr="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endParaRPr kumimoji="0" lang="en-US" sz="1800" b="1" i="0" u="none" strike="noStrike" cap="none" normalizeH="0" baseline="0" dirty="0" smtClean="0">
                        <a:ln>
                          <a:noFill/>
                        </a:ln>
                        <a:solidFill>
                          <a:schemeClr val="tx1"/>
                        </a:solidFill>
                        <a:effectLst/>
                        <a:latin typeface="Arial" charset="0"/>
                      </a:endParaRP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Measles, Yellow Fever</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Pct val="65000"/>
                        <a:buFont typeface="Wingdings" pitchFamily="2" charset="2"/>
                        <a:buNone/>
                        <a:tabLst/>
                      </a:pPr>
                      <a:r>
                        <a:rPr kumimoji="0" lang="en-US" sz="1800" b="1" i="0" u="none" strike="noStrike" cap="none" normalizeH="0" baseline="0" dirty="0" smtClean="0">
                          <a:ln>
                            <a:noFill/>
                          </a:ln>
                          <a:solidFill>
                            <a:schemeClr val="tx1"/>
                          </a:solidFill>
                          <a:effectLst/>
                          <a:latin typeface="Arial" charset="0"/>
                        </a:rPr>
                        <a:t>Measles-Rubella</a:t>
                      </a:r>
                    </a:p>
                  </a:txBody>
                  <a:tcPr anchor="ctr" anchorCtr="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3371" name="Text Box 59"/>
          <p:cNvSpPr txBox="1">
            <a:spLocks noChangeArrowheads="1"/>
          </p:cNvSpPr>
          <p:nvPr/>
        </p:nvSpPr>
        <p:spPr bwMode="auto">
          <a:xfrm>
            <a:off x="381000" y="5943600"/>
            <a:ext cx="8305800" cy="1015663"/>
          </a:xfrm>
          <a:prstGeom prst="rect">
            <a:avLst/>
          </a:prstGeom>
          <a:noFill/>
          <a:ln w="9525">
            <a:noFill/>
            <a:miter lim="800000"/>
            <a:headEnd/>
            <a:tailEnd/>
          </a:ln>
          <a:effectLst/>
        </p:spPr>
        <p:txBody>
          <a:bodyPr wrap="square">
            <a:spAutoFit/>
          </a:bodyPr>
          <a:lstStyle/>
          <a:p>
            <a:r>
              <a:rPr lang="en-US" sz="2400" b="1" dirty="0"/>
              <a:t>Source: </a:t>
            </a:r>
            <a:r>
              <a:rPr lang="en-US" sz="2400" b="1" dirty="0" smtClean="0"/>
              <a:t>WHO immunization schedule database, October 2011</a:t>
            </a:r>
          </a:p>
          <a:p>
            <a:r>
              <a:rPr lang="en-US" b="1" dirty="0" smtClean="0">
                <a:hlinkClick r:id="rId2"/>
              </a:rPr>
              <a:t>http://www.who.int/immunization_monitoring/en/globalsummary/scheduleselect.cfm</a:t>
            </a:r>
            <a:endParaRPr lang="en-US" b="1" dirty="0"/>
          </a:p>
        </p:txBody>
      </p:sp>
    </p:spTree>
    <p:extLst>
      <p:ext uri="{BB962C8B-B14F-4D97-AF65-F5344CB8AC3E}">
        <p14:creationId xmlns:p14="http://schemas.microsoft.com/office/powerpoint/2010/main" val="2360947636"/>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noChangeArrowheads="1"/>
          </p:cNvSpPr>
          <p:nvPr>
            <p:ph type="title"/>
          </p:nvPr>
        </p:nvSpPr>
        <p:spPr/>
        <p:txBody>
          <a:bodyPr/>
          <a:lstStyle/>
          <a:p>
            <a:endParaRPr lang="en-US"/>
          </a:p>
        </p:txBody>
      </p:sp>
      <p:sp>
        <p:nvSpPr>
          <p:cNvPr id="178179" name="Rectangle 3"/>
          <p:cNvSpPr>
            <a:spLocks noGrp="1" noChangeArrowheads="1"/>
          </p:cNvSpPr>
          <p:nvPr>
            <p:ph idx="1"/>
          </p:nvPr>
        </p:nvSpPr>
        <p:spPr/>
        <p:txBody>
          <a:bodyPr/>
          <a:lstStyle/>
          <a:p>
            <a:endParaRPr lang="en-US"/>
          </a:p>
        </p:txBody>
      </p:sp>
      <p:pic>
        <p:nvPicPr>
          <p:cNvPr id="178180" name="Picture 4" descr="people60"/>
          <p:cNvPicPr>
            <a:picLocks noChangeAspect="1" noChangeArrowheads="1"/>
          </p:cNvPicPr>
          <p:nvPr/>
        </p:nvPicPr>
        <p:blipFill>
          <a:blip r:embed="rId2" cstate="email"/>
          <a:srcRect/>
          <a:stretch>
            <a:fillRect/>
          </a:stretch>
        </p:blipFill>
        <p:spPr bwMode="auto">
          <a:xfrm>
            <a:off x="5029200" y="3048000"/>
            <a:ext cx="4114800" cy="3810000"/>
          </a:xfrm>
          <a:prstGeom prst="rect">
            <a:avLst/>
          </a:prstGeom>
          <a:noFill/>
        </p:spPr>
      </p:pic>
      <p:pic>
        <p:nvPicPr>
          <p:cNvPr id="178181" name="Picture 5" descr="people37"/>
          <p:cNvPicPr>
            <a:picLocks noChangeAspect="1" noChangeArrowheads="1"/>
          </p:cNvPicPr>
          <p:nvPr/>
        </p:nvPicPr>
        <p:blipFill>
          <a:blip r:embed="rId3" cstate="email"/>
          <a:srcRect/>
          <a:stretch>
            <a:fillRect/>
          </a:stretch>
        </p:blipFill>
        <p:spPr bwMode="auto">
          <a:xfrm>
            <a:off x="4267200" y="0"/>
            <a:ext cx="4876800" cy="3505200"/>
          </a:xfrm>
          <a:prstGeom prst="rect">
            <a:avLst/>
          </a:prstGeom>
          <a:noFill/>
        </p:spPr>
      </p:pic>
      <p:pic>
        <p:nvPicPr>
          <p:cNvPr id="178184" name="Picture 8" descr="child2"/>
          <p:cNvPicPr>
            <a:picLocks noChangeAspect="1" noChangeArrowheads="1"/>
          </p:cNvPicPr>
          <p:nvPr/>
        </p:nvPicPr>
        <p:blipFill>
          <a:blip r:embed="rId4" cstate="email"/>
          <a:srcRect/>
          <a:stretch>
            <a:fillRect/>
          </a:stretch>
        </p:blipFill>
        <p:spPr bwMode="auto">
          <a:xfrm>
            <a:off x="0" y="0"/>
            <a:ext cx="4265613" cy="4038600"/>
          </a:xfrm>
          <a:prstGeom prst="rect">
            <a:avLst/>
          </a:prstGeom>
          <a:noFill/>
        </p:spPr>
      </p:pic>
      <p:pic>
        <p:nvPicPr>
          <p:cNvPr id="178182" name="Picture 6" descr="DSC_0103"/>
          <p:cNvPicPr>
            <a:picLocks noChangeAspect="1" noChangeArrowheads="1"/>
          </p:cNvPicPr>
          <p:nvPr/>
        </p:nvPicPr>
        <p:blipFill>
          <a:blip r:embed="rId5" cstate="email"/>
          <a:srcRect/>
          <a:stretch>
            <a:fillRect/>
          </a:stretch>
        </p:blipFill>
        <p:spPr bwMode="auto">
          <a:xfrm>
            <a:off x="0" y="3514725"/>
            <a:ext cx="5029200" cy="3343275"/>
          </a:xfrm>
          <a:prstGeom prst="rect">
            <a:avLst/>
          </a:prstGeom>
          <a:noFill/>
        </p:spPr>
      </p:pic>
      <p:sp>
        <p:nvSpPr>
          <p:cNvPr id="8" name="Title 3"/>
          <p:cNvSpPr txBox="1">
            <a:spLocks/>
          </p:cNvSpPr>
          <p:nvPr/>
        </p:nvSpPr>
        <p:spPr>
          <a:xfrm>
            <a:off x="609600" y="2568575"/>
            <a:ext cx="7772400" cy="1470025"/>
          </a:xfrm>
          <a:prstGeom prst="rect">
            <a:avLst/>
          </a:prstGeom>
          <a:solidFill>
            <a:schemeClr val="accent1">
              <a:alpha val="45000"/>
            </a:schemeClr>
          </a:solid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dirty="0" smtClean="0">
                <a:solidFill>
                  <a:schemeClr val="bg1"/>
                </a:solidFill>
              </a:rPr>
              <a:t>Thanks – Questions?</a:t>
            </a:r>
            <a:endParaRPr lang="en-US" dirty="0">
              <a:solidFill>
                <a:schemeClr val="bg1"/>
              </a:solidFill>
            </a:endParaRPr>
          </a:p>
        </p:txBody>
      </p:sp>
    </p:spTree>
    <p:extLst>
      <p:ext uri="{BB962C8B-B14F-4D97-AF65-F5344CB8AC3E}">
        <p14:creationId xmlns:p14="http://schemas.microsoft.com/office/powerpoint/2010/main" val="145991448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2400" y="274638"/>
            <a:ext cx="8763000" cy="1143000"/>
          </a:xfrm>
        </p:spPr>
        <p:txBody>
          <a:bodyPr>
            <a:noAutofit/>
          </a:bodyPr>
          <a:lstStyle/>
          <a:p>
            <a:r>
              <a:rPr lang="en-US" sz="3600" b="1" dirty="0" smtClean="0"/>
              <a:t>Routine Immunization vs </a:t>
            </a:r>
            <a:br>
              <a:rPr lang="en-US" sz="3600" b="1" dirty="0" smtClean="0"/>
            </a:br>
            <a:r>
              <a:rPr lang="en-US" sz="3600" b="1" dirty="0" smtClean="0"/>
              <a:t>Supplementary Immunization Activities</a:t>
            </a:r>
            <a:endParaRPr lang="en-US" sz="3600" b="1" dirty="0"/>
          </a:p>
        </p:txBody>
      </p:sp>
      <p:graphicFrame>
        <p:nvGraphicFramePr>
          <p:cNvPr id="13" name="Table 12"/>
          <p:cNvGraphicFramePr>
            <a:graphicFrameLocks noGrp="1"/>
          </p:cNvGraphicFramePr>
          <p:nvPr>
            <p:extLst>
              <p:ext uri="{D42A27DB-BD31-4B8C-83A1-F6EECF244321}">
                <p14:modId xmlns:p14="http://schemas.microsoft.com/office/powerpoint/2010/main" val="4115960489"/>
              </p:ext>
            </p:extLst>
          </p:nvPr>
        </p:nvGraphicFramePr>
        <p:xfrm>
          <a:off x="533396" y="1600200"/>
          <a:ext cx="8458204" cy="4399280"/>
        </p:xfrm>
        <a:graphic>
          <a:graphicData uri="http://schemas.openxmlformats.org/drawingml/2006/table">
            <a:tbl>
              <a:tblPr firstRow="1" bandRow="1">
                <a:tableStyleId>{5C22544A-7EE6-4342-B048-85BDC9FD1C3A}</a:tableStyleId>
              </a:tblPr>
              <a:tblGrid>
                <a:gridCol w="1752604"/>
                <a:gridCol w="3048000"/>
                <a:gridCol w="3657600"/>
              </a:tblGrid>
              <a:tr h="370840">
                <a:tc>
                  <a:txBody>
                    <a:bodyPr/>
                    <a:lstStyle/>
                    <a:p>
                      <a:pPr algn="ctr"/>
                      <a:endParaRPr lang="en-US" b="1" u="sng"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u="sng" dirty="0" smtClean="0">
                          <a:solidFill>
                            <a:schemeClr val="tx1"/>
                          </a:solidFill>
                        </a:rPr>
                        <a:t>Routine Immunization</a:t>
                      </a:r>
                      <a:endParaRPr lang="en-US" b="1" u="sng"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b="1" u="sng" dirty="0" smtClean="0">
                          <a:solidFill>
                            <a:schemeClr val="tx1"/>
                          </a:solidFill>
                        </a:rPr>
                        <a:t>Supplementary Immunization Activities</a:t>
                      </a:r>
                      <a:endParaRPr lang="en-US" b="1" u="sng"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Objectiv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Provide all vaccines listed on country RI schedu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Provide specific vaccines to those who missed them in RI or who did not seroconver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ervice Deliver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Ongoing basis from permanent loc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Temporarily provided from multiple permanent and temporary loc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Tim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Throughout the yea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hort duration (1 wee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Targe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Usually &lt;1 year ol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Usually &lt;5 or &lt;15 year ol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i="0" dirty="0" smtClean="0"/>
                        <a:t>Other</a:t>
                      </a:r>
                      <a:r>
                        <a:rPr lang="en-US" b="1" i="0" baseline="0" dirty="0" smtClean="0"/>
                        <a:t> names</a:t>
                      </a:r>
                      <a:endParaRPr lang="en-US" b="1" i="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i="1" dirty="0" smtClean="0"/>
                        <a:t>EPI (Expanded Program on Immunization); UIP (Universal Immunization Progr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i="1" dirty="0" smtClean="0"/>
                        <a:t>campaigns, NIDs (National Immunization days), SNIDs (sub-national immunization days), PIRIs</a:t>
                      </a:r>
                      <a:r>
                        <a:rPr lang="en-US" b="1" i="1" baseline="0" dirty="0" smtClean="0"/>
                        <a:t> (Periodic Intensification of Routine Immunization)</a:t>
                      </a:r>
                      <a:endParaRPr lang="en-US" b="1"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5007787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2" name="Group 1"/>
          <p:cNvGrpSpPr/>
          <p:nvPr/>
        </p:nvGrpSpPr>
        <p:grpSpPr>
          <a:xfrm>
            <a:off x="623900" y="1176338"/>
            <a:ext cx="7823200" cy="5018087"/>
            <a:chOff x="254000" y="1176338"/>
            <a:chExt cx="8528050" cy="5618162"/>
          </a:xfrm>
        </p:grpSpPr>
        <p:sp>
          <p:nvSpPr>
            <p:cNvPr id="12290" name="Freeform 2"/>
            <p:cNvSpPr>
              <a:spLocks/>
            </p:cNvSpPr>
            <p:nvPr/>
          </p:nvSpPr>
          <p:spPr bwMode="auto">
            <a:xfrm>
              <a:off x="4527550" y="1176338"/>
              <a:ext cx="4254500" cy="3435350"/>
            </a:xfrm>
            <a:custGeom>
              <a:avLst/>
              <a:gdLst/>
              <a:ahLst/>
              <a:cxnLst>
                <a:cxn ang="0">
                  <a:pos x="0" y="0"/>
                </a:cxn>
                <a:cxn ang="0">
                  <a:pos x="2680" y="1728"/>
                </a:cxn>
                <a:cxn ang="0">
                  <a:pos x="2438" y="1743"/>
                </a:cxn>
                <a:cxn ang="0">
                  <a:pos x="2431" y="1782"/>
                </a:cxn>
                <a:cxn ang="0">
                  <a:pos x="2443" y="1830"/>
                </a:cxn>
                <a:cxn ang="0">
                  <a:pos x="2461" y="1888"/>
                </a:cxn>
                <a:cxn ang="0">
                  <a:pos x="2473" y="1944"/>
                </a:cxn>
                <a:cxn ang="0">
                  <a:pos x="2468" y="1996"/>
                </a:cxn>
                <a:cxn ang="0">
                  <a:pos x="2450" y="2048"/>
                </a:cxn>
                <a:cxn ang="0">
                  <a:pos x="2406" y="2090"/>
                </a:cxn>
                <a:cxn ang="0">
                  <a:pos x="2357" y="2125"/>
                </a:cxn>
                <a:cxn ang="0">
                  <a:pos x="2296" y="2148"/>
                </a:cxn>
                <a:cxn ang="0">
                  <a:pos x="2220" y="2162"/>
                </a:cxn>
                <a:cxn ang="0">
                  <a:pos x="2152" y="2164"/>
                </a:cxn>
                <a:cxn ang="0">
                  <a:pos x="2094" y="2158"/>
                </a:cxn>
                <a:cxn ang="0">
                  <a:pos x="2034" y="2142"/>
                </a:cxn>
                <a:cxn ang="0">
                  <a:pos x="1985" y="2115"/>
                </a:cxn>
                <a:cxn ang="0">
                  <a:pos x="1938" y="2075"/>
                </a:cxn>
                <a:cxn ang="0">
                  <a:pos x="1901" y="2031"/>
                </a:cxn>
                <a:cxn ang="0">
                  <a:pos x="1880" y="1969"/>
                </a:cxn>
                <a:cxn ang="0">
                  <a:pos x="1890" y="1907"/>
                </a:cxn>
                <a:cxn ang="0">
                  <a:pos x="1908" y="1846"/>
                </a:cxn>
                <a:cxn ang="0">
                  <a:pos x="1924" y="1784"/>
                </a:cxn>
                <a:cxn ang="0">
                  <a:pos x="1922" y="1755"/>
                </a:cxn>
                <a:cxn ang="0">
                  <a:pos x="1469" y="1739"/>
                </a:cxn>
                <a:cxn ang="0">
                  <a:pos x="1474" y="1637"/>
                </a:cxn>
                <a:cxn ang="0">
                  <a:pos x="1464" y="1570"/>
                </a:cxn>
                <a:cxn ang="0">
                  <a:pos x="1446" y="1529"/>
                </a:cxn>
                <a:cxn ang="0">
                  <a:pos x="1408" y="1497"/>
                </a:cxn>
                <a:cxn ang="0">
                  <a:pos x="1357" y="1475"/>
                </a:cxn>
                <a:cxn ang="0">
                  <a:pos x="1295" y="1470"/>
                </a:cxn>
                <a:cxn ang="0">
                  <a:pos x="1204" y="1473"/>
                </a:cxn>
                <a:cxn ang="0">
                  <a:pos x="1118" y="1479"/>
                </a:cxn>
                <a:cxn ang="0">
                  <a:pos x="1030" y="1479"/>
                </a:cxn>
                <a:cxn ang="0">
                  <a:pos x="941" y="1466"/>
                </a:cxn>
                <a:cxn ang="0">
                  <a:pos x="874" y="1433"/>
                </a:cxn>
                <a:cxn ang="0">
                  <a:pos x="834" y="1389"/>
                </a:cxn>
                <a:cxn ang="0">
                  <a:pos x="818" y="1329"/>
                </a:cxn>
                <a:cxn ang="0">
                  <a:pos x="820" y="1261"/>
                </a:cxn>
                <a:cxn ang="0">
                  <a:pos x="809" y="1200"/>
                </a:cxn>
                <a:cxn ang="0">
                  <a:pos x="790" y="1161"/>
                </a:cxn>
                <a:cxn ang="0">
                  <a:pos x="762" y="1136"/>
                </a:cxn>
                <a:cxn ang="0">
                  <a:pos x="697" y="1111"/>
                </a:cxn>
                <a:cxn ang="0">
                  <a:pos x="611" y="1092"/>
                </a:cxn>
                <a:cxn ang="0">
                  <a:pos x="516" y="1078"/>
                </a:cxn>
                <a:cxn ang="0">
                  <a:pos x="444" y="1059"/>
                </a:cxn>
                <a:cxn ang="0">
                  <a:pos x="381" y="1030"/>
                </a:cxn>
                <a:cxn ang="0">
                  <a:pos x="330" y="989"/>
                </a:cxn>
                <a:cxn ang="0">
                  <a:pos x="297" y="939"/>
                </a:cxn>
                <a:cxn ang="0">
                  <a:pos x="293" y="883"/>
                </a:cxn>
                <a:cxn ang="0">
                  <a:pos x="311" y="822"/>
                </a:cxn>
                <a:cxn ang="0">
                  <a:pos x="328" y="752"/>
                </a:cxn>
                <a:cxn ang="0">
                  <a:pos x="342" y="687"/>
                </a:cxn>
                <a:cxn ang="0">
                  <a:pos x="328" y="621"/>
                </a:cxn>
                <a:cxn ang="0">
                  <a:pos x="295" y="561"/>
                </a:cxn>
                <a:cxn ang="0">
                  <a:pos x="263" y="525"/>
                </a:cxn>
                <a:cxn ang="0">
                  <a:pos x="221" y="492"/>
                </a:cxn>
                <a:cxn ang="0">
                  <a:pos x="172" y="469"/>
                </a:cxn>
                <a:cxn ang="0">
                  <a:pos x="109" y="453"/>
                </a:cxn>
                <a:cxn ang="0">
                  <a:pos x="35" y="451"/>
                </a:cxn>
              </a:cxnLst>
              <a:rect l="0" t="0" r="r" b="b"/>
              <a:pathLst>
                <a:path w="2680" h="2164">
                  <a:moveTo>
                    <a:pt x="0" y="451"/>
                  </a:moveTo>
                  <a:lnTo>
                    <a:pt x="0" y="0"/>
                  </a:lnTo>
                  <a:lnTo>
                    <a:pt x="2678" y="0"/>
                  </a:lnTo>
                  <a:lnTo>
                    <a:pt x="2680" y="1728"/>
                  </a:lnTo>
                  <a:lnTo>
                    <a:pt x="2447" y="1728"/>
                  </a:lnTo>
                  <a:lnTo>
                    <a:pt x="2438" y="1743"/>
                  </a:lnTo>
                  <a:lnTo>
                    <a:pt x="2431" y="1765"/>
                  </a:lnTo>
                  <a:lnTo>
                    <a:pt x="2431" y="1782"/>
                  </a:lnTo>
                  <a:lnTo>
                    <a:pt x="2433" y="1803"/>
                  </a:lnTo>
                  <a:lnTo>
                    <a:pt x="2443" y="1830"/>
                  </a:lnTo>
                  <a:lnTo>
                    <a:pt x="2452" y="1865"/>
                  </a:lnTo>
                  <a:lnTo>
                    <a:pt x="2461" y="1888"/>
                  </a:lnTo>
                  <a:lnTo>
                    <a:pt x="2468" y="1917"/>
                  </a:lnTo>
                  <a:lnTo>
                    <a:pt x="2473" y="1944"/>
                  </a:lnTo>
                  <a:lnTo>
                    <a:pt x="2473" y="1971"/>
                  </a:lnTo>
                  <a:lnTo>
                    <a:pt x="2468" y="1996"/>
                  </a:lnTo>
                  <a:lnTo>
                    <a:pt x="2461" y="2023"/>
                  </a:lnTo>
                  <a:lnTo>
                    <a:pt x="2450" y="2048"/>
                  </a:lnTo>
                  <a:lnTo>
                    <a:pt x="2431" y="2067"/>
                  </a:lnTo>
                  <a:lnTo>
                    <a:pt x="2406" y="2090"/>
                  </a:lnTo>
                  <a:lnTo>
                    <a:pt x="2380" y="2108"/>
                  </a:lnTo>
                  <a:lnTo>
                    <a:pt x="2357" y="2125"/>
                  </a:lnTo>
                  <a:lnTo>
                    <a:pt x="2329" y="2139"/>
                  </a:lnTo>
                  <a:lnTo>
                    <a:pt x="2296" y="2148"/>
                  </a:lnTo>
                  <a:lnTo>
                    <a:pt x="2257" y="2158"/>
                  </a:lnTo>
                  <a:lnTo>
                    <a:pt x="2220" y="2162"/>
                  </a:lnTo>
                  <a:lnTo>
                    <a:pt x="2187" y="2164"/>
                  </a:lnTo>
                  <a:lnTo>
                    <a:pt x="2152" y="2164"/>
                  </a:lnTo>
                  <a:lnTo>
                    <a:pt x="2120" y="2162"/>
                  </a:lnTo>
                  <a:lnTo>
                    <a:pt x="2094" y="2158"/>
                  </a:lnTo>
                  <a:lnTo>
                    <a:pt x="2064" y="2150"/>
                  </a:lnTo>
                  <a:lnTo>
                    <a:pt x="2034" y="2142"/>
                  </a:lnTo>
                  <a:lnTo>
                    <a:pt x="2010" y="2131"/>
                  </a:lnTo>
                  <a:lnTo>
                    <a:pt x="1985" y="2115"/>
                  </a:lnTo>
                  <a:lnTo>
                    <a:pt x="1962" y="2096"/>
                  </a:lnTo>
                  <a:lnTo>
                    <a:pt x="1938" y="2075"/>
                  </a:lnTo>
                  <a:lnTo>
                    <a:pt x="1917" y="2054"/>
                  </a:lnTo>
                  <a:lnTo>
                    <a:pt x="1901" y="2031"/>
                  </a:lnTo>
                  <a:lnTo>
                    <a:pt x="1890" y="2002"/>
                  </a:lnTo>
                  <a:lnTo>
                    <a:pt x="1880" y="1969"/>
                  </a:lnTo>
                  <a:lnTo>
                    <a:pt x="1880" y="1938"/>
                  </a:lnTo>
                  <a:lnTo>
                    <a:pt x="1890" y="1907"/>
                  </a:lnTo>
                  <a:lnTo>
                    <a:pt x="1899" y="1876"/>
                  </a:lnTo>
                  <a:lnTo>
                    <a:pt x="1908" y="1846"/>
                  </a:lnTo>
                  <a:lnTo>
                    <a:pt x="1920" y="1811"/>
                  </a:lnTo>
                  <a:lnTo>
                    <a:pt x="1924" y="1784"/>
                  </a:lnTo>
                  <a:lnTo>
                    <a:pt x="1924" y="1768"/>
                  </a:lnTo>
                  <a:lnTo>
                    <a:pt x="1922" y="1755"/>
                  </a:lnTo>
                  <a:lnTo>
                    <a:pt x="1915" y="1739"/>
                  </a:lnTo>
                  <a:lnTo>
                    <a:pt x="1469" y="1739"/>
                  </a:lnTo>
                  <a:lnTo>
                    <a:pt x="1476" y="1674"/>
                  </a:lnTo>
                  <a:lnTo>
                    <a:pt x="1474" y="1637"/>
                  </a:lnTo>
                  <a:lnTo>
                    <a:pt x="1469" y="1603"/>
                  </a:lnTo>
                  <a:lnTo>
                    <a:pt x="1464" y="1570"/>
                  </a:lnTo>
                  <a:lnTo>
                    <a:pt x="1457" y="1549"/>
                  </a:lnTo>
                  <a:lnTo>
                    <a:pt x="1446" y="1529"/>
                  </a:lnTo>
                  <a:lnTo>
                    <a:pt x="1432" y="1512"/>
                  </a:lnTo>
                  <a:lnTo>
                    <a:pt x="1408" y="1497"/>
                  </a:lnTo>
                  <a:lnTo>
                    <a:pt x="1383" y="1483"/>
                  </a:lnTo>
                  <a:lnTo>
                    <a:pt x="1357" y="1475"/>
                  </a:lnTo>
                  <a:lnTo>
                    <a:pt x="1334" y="1471"/>
                  </a:lnTo>
                  <a:lnTo>
                    <a:pt x="1295" y="1470"/>
                  </a:lnTo>
                  <a:lnTo>
                    <a:pt x="1248" y="1470"/>
                  </a:lnTo>
                  <a:lnTo>
                    <a:pt x="1204" y="1473"/>
                  </a:lnTo>
                  <a:lnTo>
                    <a:pt x="1155" y="1475"/>
                  </a:lnTo>
                  <a:lnTo>
                    <a:pt x="1118" y="1479"/>
                  </a:lnTo>
                  <a:lnTo>
                    <a:pt x="1069" y="1481"/>
                  </a:lnTo>
                  <a:lnTo>
                    <a:pt x="1030" y="1479"/>
                  </a:lnTo>
                  <a:lnTo>
                    <a:pt x="995" y="1475"/>
                  </a:lnTo>
                  <a:lnTo>
                    <a:pt x="941" y="1466"/>
                  </a:lnTo>
                  <a:lnTo>
                    <a:pt x="906" y="1452"/>
                  </a:lnTo>
                  <a:lnTo>
                    <a:pt x="874" y="1433"/>
                  </a:lnTo>
                  <a:lnTo>
                    <a:pt x="853" y="1412"/>
                  </a:lnTo>
                  <a:lnTo>
                    <a:pt x="834" y="1389"/>
                  </a:lnTo>
                  <a:lnTo>
                    <a:pt x="820" y="1360"/>
                  </a:lnTo>
                  <a:lnTo>
                    <a:pt x="818" y="1329"/>
                  </a:lnTo>
                  <a:lnTo>
                    <a:pt x="818" y="1290"/>
                  </a:lnTo>
                  <a:lnTo>
                    <a:pt x="820" y="1261"/>
                  </a:lnTo>
                  <a:lnTo>
                    <a:pt x="818" y="1232"/>
                  </a:lnTo>
                  <a:lnTo>
                    <a:pt x="809" y="1200"/>
                  </a:lnTo>
                  <a:lnTo>
                    <a:pt x="802" y="1180"/>
                  </a:lnTo>
                  <a:lnTo>
                    <a:pt x="790" y="1161"/>
                  </a:lnTo>
                  <a:lnTo>
                    <a:pt x="776" y="1148"/>
                  </a:lnTo>
                  <a:lnTo>
                    <a:pt x="762" y="1136"/>
                  </a:lnTo>
                  <a:lnTo>
                    <a:pt x="732" y="1124"/>
                  </a:lnTo>
                  <a:lnTo>
                    <a:pt x="697" y="1111"/>
                  </a:lnTo>
                  <a:lnTo>
                    <a:pt x="658" y="1101"/>
                  </a:lnTo>
                  <a:lnTo>
                    <a:pt x="611" y="1092"/>
                  </a:lnTo>
                  <a:lnTo>
                    <a:pt x="565" y="1084"/>
                  </a:lnTo>
                  <a:lnTo>
                    <a:pt x="516" y="1078"/>
                  </a:lnTo>
                  <a:lnTo>
                    <a:pt x="481" y="1068"/>
                  </a:lnTo>
                  <a:lnTo>
                    <a:pt x="444" y="1059"/>
                  </a:lnTo>
                  <a:lnTo>
                    <a:pt x="407" y="1047"/>
                  </a:lnTo>
                  <a:lnTo>
                    <a:pt x="381" y="1030"/>
                  </a:lnTo>
                  <a:lnTo>
                    <a:pt x="351" y="1009"/>
                  </a:lnTo>
                  <a:lnTo>
                    <a:pt x="330" y="989"/>
                  </a:lnTo>
                  <a:lnTo>
                    <a:pt x="311" y="966"/>
                  </a:lnTo>
                  <a:lnTo>
                    <a:pt x="297" y="939"/>
                  </a:lnTo>
                  <a:lnTo>
                    <a:pt x="293" y="910"/>
                  </a:lnTo>
                  <a:lnTo>
                    <a:pt x="293" y="883"/>
                  </a:lnTo>
                  <a:lnTo>
                    <a:pt x="300" y="858"/>
                  </a:lnTo>
                  <a:lnTo>
                    <a:pt x="311" y="822"/>
                  </a:lnTo>
                  <a:lnTo>
                    <a:pt x="323" y="785"/>
                  </a:lnTo>
                  <a:lnTo>
                    <a:pt x="328" y="752"/>
                  </a:lnTo>
                  <a:lnTo>
                    <a:pt x="337" y="719"/>
                  </a:lnTo>
                  <a:lnTo>
                    <a:pt x="342" y="687"/>
                  </a:lnTo>
                  <a:lnTo>
                    <a:pt x="337" y="652"/>
                  </a:lnTo>
                  <a:lnTo>
                    <a:pt x="328" y="621"/>
                  </a:lnTo>
                  <a:lnTo>
                    <a:pt x="314" y="590"/>
                  </a:lnTo>
                  <a:lnTo>
                    <a:pt x="295" y="561"/>
                  </a:lnTo>
                  <a:lnTo>
                    <a:pt x="274" y="538"/>
                  </a:lnTo>
                  <a:lnTo>
                    <a:pt x="263" y="525"/>
                  </a:lnTo>
                  <a:lnTo>
                    <a:pt x="242" y="507"/>
                  </a:lnTo>
                  <a:lnTo>
                    <a:pt x="221" y="492"/>
                  </a:lnTo>
                  <a:lnTo>
                    <a:pt x="200" y="480"/>
                  </a:lnTo>
                  <a:lnTo>
                    <a:pt x="172" y="469"/>
                  </a:lnTo>
                  <a:lnTo>
                    <a:pt x="144" y="461"/>
                  </a:lnTo>
                  <a:lnTo>
                    <a:pt x="109" y="453"/>
                  </a:lnTo>
                  <a:lnTo>
                    <a:pt x="70" y="451"/>
                  </a:lnTo>
                  <a:lnTo>
                    <a:pt x="35" y="451"/>
                  </a:lnTo>
                  <a:lnTo>
                    <a:pt x="0" y="451"/>
                  </a:lnTo>
                  <a:close/>
                </a:path>
              </a:pathLst>
            </a:custGeom>
            <a:solidFill>
              <a:srgbClr val="FF3300"/>
            </a:solidFill>
            <a:ln w="30163">
              <a:solidFill>
                <a:srgbClr val="000000"/>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2291" name="Freeform 3"/>
            <p:cNvSpPr>
              <a:spLocks/>
            </p:cNvSpPr>
            <p:nvPr/>
          </p:nvSpPr>
          <p:spPr bwMode="auto">
            <a:xfrm>
              <a:off x="4508500" y="3916363"/>
              <a:ext cx="4273550" cy="2878137"/>
            </a:xfrm>
            <a:custGeom>
              <a:avLst/>
              <a:gdLst/>
              <a:ahLst/>
              <a:cxnLst>
                <a:cxn ang="0">
                  <a:pos x="0" y="1813"/>
                </a:cxn>
                <a:cxn ang="0">
                  <a:pos x="2690" y="0"/>
                </a:cxn>
                <a:cxn ang="0">
                  <a:pos x="2438" y="35"/>
                </a:cxn>
                <a:cxn ang="0">
                  <a:pos x="2445" y="94"/>
                </a:cxn>
                <a:cxn ang="0">
                  <a:pos x="2473" y="175"/>
                </a:cxn>
                <a:cxn ang="0">
                  <a:pos x="2480" y="241"/>
                </a:cxn>
                <a:cxn ang="0">
                  <a:pos x="2464" y="308"/>
                </a:cxn>
                <a:cxn ang="0">
                  <a:pos x="2408" y="366"/>
                </a:cxn>
                <a:cxn ang="0">
                  <a:pos x="2339" y="409"/>
                </a:cxn>
                <a:cxn ang="0">
                  <a:pos x="2255" y="430"/>
                </a:cxn>
                <a:cxn ang="0">
                  <a:pos x="2134" y="428"/>
                </a:cxn>
                <a:cxn ang="0">
                  <a:pos x="2055" y="415"/>
                </a:cxn>
                <a:cxn ang="0">
                  <a:pos x="1976" y="368"/>
                </a:cxn>
                <a:cxn ang="0">
                  <a:pos x="1922" y="312"/>
                </a:cxn>
                <a:cxn ang="0">
                  <a:pos x="1899" y="253"/>
                </a:cxn>
                <a:cxn ang="0">
                  <a:pos x="1904" y="187"/>
                </a:cxn>
                <a:cxn ang="0">
                  <a:pos x="1922" y="127"/>
                </a:cxn>
                <a:cxn ang="0">
                  <a:pos x="1941" y="66"/>
                </a:cxn>
                <a:cxn ang="0">
                  <a:pos x="1932" y="8"/>
                </a:cxn>
                <a:cxn ang="0">
                  <a:pos x="1486" y="71"/>
                </a:cxn>
                <a:cxn ang="0">
                  <a:pos x="1479" y="152"/>
                </a:cxn>
                <a:cxn ang="0">
                  <a:pos x="1474" y="220"/>
                </a:cxn>
                <a:cxn ang="0">
                  <a:pos x="1453" y="278"/>
                </a:cxn>
                <a:cxn ang="0">
                  <a:pos x="1413" y="316"/>
                </a:cxn>
                <a:cxn ang="0">
                  <a:pos x="1358" y="337"/>
                </a:cxn>
                <a:cxn ang="0">
                  <a:pos x="1295" y="343"/>
                </a:cxn>
                <a:cxn ang="0">
                  <a:pos x="1218" y="339"/>
                </a:cxn>
                <a:cxn ang="0">
                  <a:pos x="1148" y="335"/>
                </a:cxn>
                <a:cxn ang="0">
                  <a:pos x="1060" y="332"/>
                </a:cxn>
                <a:cxn ang="0">
                  <a:pos x="981" y="339"/>
                </a:cxn>
                <a:cxn ang="0">
                  <a:pos x="909" y="362"/>
                </a:cxn>
                <a:cxn ang="0">
                  <a:pos x="856" y="403"/>
                </a:cxn>
                <a:cxn ang="0">
                  <a:pos x="825" y="453"/>
                </a:cxn>
                <a:cxn ang="0">
                  <a:pos x="825" y="511"/>
                </a:cxn>
                <a:cxn ang="0">
                  <a:pos x="825" y="575"/>
                </a:cxn>
                <a:cxn ang="0">
                  <a:pos x="809" y="627"/>
                </a:cxn>
                <a:cxn ang="0">
                  <a:pos x="777" y="669"/>
                </a:cxn>
                <a:cxn ang="0">
                  <a:pos x="709" y="698"/>
                </a:cxn>
                <a:cxn ang="0">
                  <a:pos x="637" y="715"/>
                </a:cxn>
                <a:cxn ang="0">
                  <a:pos x="551" y="731"/>
                </a:cxn>
                <a:cxn ang="0">
                  <a:pos x="474" y="746"/>
                </a:cxn>
                <a:cxn ang="0">
                  <a:pos x="409" y="767"/>
                </a:cxn>
                <a:cxn ang="0">
                  <a:pos x="361" y="798"/>
                </a:cxn>
                <a:cxn ang="0">
                  <a:pos x="319" y="846"/>
                </a:cxn>
                <a:cxn ang="0">
                  <a:pos x="298" y="906"/>
                </a:cxn>
                <a:cxn ang="0">
                  <a:pos x="307" y="968"/>
                </a:cxn>
                <a:cxn ang="0">
                  <a:pos x="330" y="1045"/>
                </a:cxn>
                <a:cxn ang="0">
                  <a:pos x="344" y="1111"/>
                </a:cxn>
                <a:cxn ang="0">
                  <a:pos x="340" y="1174"/>
                </a:cxn>
                <a:cxn ang="0">
                  <a:pos x="319" y="1232"/>
                </a:cxn>
                <a:cxn ang="0">
                  <a:pos x="286" y="1290"/>
                </a:cxn>
                <a:cxn ang="0">
                  <a:pos x="233" y="1354"/>
                </a:cxn>
                <a:cxn ang="0">
                  <a:pos x="179" y="1394"/>
                </a:cxn>
                <a:cxn ang="0">
                  <a:pos x="123" y="1419"/>
                </a:cxn>
                <a:cxn ang="0">
                  <a:pos x="40" y="1433"/>
                </a:cxn>
              </a:cxnLst>
              <a:rect l="0" t="0" r="r" b="b"/>
              <a:pathLst>
                <a:path w="2692" h="1813">
                  <a:moveTo>
                    <a:pt x="0" y="1433"/>
                  </a:moveTo>
                  <a:lnTo>
                    <a:pt x="0" y="1813"/>
                  </a:lnTo>
                  <a:lnTo>
                    <a:pt x="2692" y="1813"/>
                  </a:lnTo>
                  <a:lnTo>
                    <a:pt x="2690" y="0"/>
                  </a:lnTo>
                  <a:lnTo>
                    <a:pt x="2450" y="0"/>
                  </a:lnTo>
                  <a:lnTo>
                    <a:pt x="2438" y="35"/>
                  </a:lnTo>
                  <a:lnTo>
                    <a:pt x="2438" y="60"/>
                  </a:lnTo>
                  <a:lnTo>
                    <a:pt x="2445" y="94"/>
                  </a:lnTo>
                  <a:lnTo>
                    <a:pt x="2459" y="131"/>
                  </a:lnTo>
                  <a:lnTo>
                    <a:pt x="2473" y="175"/>
                  </a:lnTo>
                  <a:lnTo>
                    <a:pt x="2480" y="210"/>
                  </a:lnTo>
                  <a:lnTo>
                    <a:pt x="2480" y="241"/>
                  </a:lnTo>
                  <a:lnTo>
                    <a:pt x="2476" y="276"/>
                  </a:lnTo>
                  <a:lnTo>
                    <a:pt x="2464" y="308"/>
                  </a:lnTo>
                  <a:lnTo>
                    <a:pt x="2438" y="339"/>
                  </a:lnTo>
                  <a:lnTo>
                    <a:pt x="2408" y="366"/>
                  </a:lnTo>
                  <a:lnTo>
                    <a:pt x="2376" y="391"/>
                  </a:lnTo>
                  <a:lnTo>
                    <a:pt x="2339" y="409"/>
                  </a:lnTo>
                  <a:lnTo>
                    <a:pt x="2294" y="422"/>
                  </a:lnTo>
                  <a:lnTo>
                    <a:pt x="2255" y="430"/>
                  </a:lnTo>
                  <a:lnTo>
                    <a:pt x="2199" y="432"/>
                  </a:lnTo>
                  <a:lnTo>
                    <a:pt x="2134" y="428"/>
                  </a:lnTo>
                  <a:lnTo>
                    <a:pt x="2092" y="422"/>
                  </a:lnTo>
                  <a:lnTo>
                    <a:pt x="2055" y="415"/>
                  </a:lnTo>
                  <a:lnTo>
                    <a:pt x="2020" y="397"/>
                  </a:lnTo>
                  <a:lnTo>
                    <a:pt x="1976" y="368"/>
                  </a:lnTo>
                  <a:lnTo>
                    <a:pt x="1948" y="341"/>
                  </a:lnTo>
                  <a:lnTo>
                    <a:pt x="1922" y="312"/>
                  </a:lnTo>
                  <a:lnTo>
                    <a:pt x="1909" y="281"/>
                  </a:lnTo>
                  <a:lnTo>
                    <a:pt x="1899" y="253"/>
                  </a:lnTo>
                  <a:lnTo>
                    <a:pt x="1899" y="220"/>
                  </a:lnTo>
                  <a:lnTo>
                    <a:pt x="1904" y="187"/>
                  </a:lnTo>
                  <a:lnTo>
                    <a:pt x="1913" y="156"/>
                  </a:lnTo>
                  <a:lnTo>
                    <a:pt x="1922" y="127"/>
                  </a:lnTo>
                  <a:lnTo>
                    <a:pt x="1934" y="96"/>
                  </a:lnTo>
                  <a:lnTo>
                    <a:pt x="1941" y="66"/>
                  </a:lnTo>
                  <a:lnTo>
                    <a:pt x="1941" y="39"/>
                  </a:lnTo>
                  <a:lnTo>
                    <a:pt x="1932" y="8"/>
                  </a:lnTo>
                  <a:lnTo>
                    <a:pt x="1481" y="8"/>
                  </a:lnTo>
                  <a:lnTo>
                    <a:pt x="1486" y="71"/>
                  </a:lnTo>
                  <a:lnTo>
                    <a:pt x="1481" y="116"/>
                  </a:lnTo>
                  <a:lnTo>
                    <a:pt x="1479" y="152"/>
                  </a:lnTo>
                  <a:lnTo>
                    <a:pt x="1479" y="185"/>
                  </a:lnTo>
                  <a:lnTo>
                    <a:pt x="1474" y="220"/>
                  </a:lnTo>
                  <a:lnTo>
                    <a:pt x="1465" y="254"/>
                  </a:lnTo>
                  <a:lnTo>
                    <a:pt x="1453" y="278"/>
                  </a:lnTo>
                  <a:lnTo>
                    <a:pt x="1437" y="299"/>
                  </a:lnTo>
                  <a:lnTo>
                    <a:pt x="1413" y="316"/>
                  </a:lnTo>
                  <a:lnTo>
                    <a:pt x="1388" y="330"/>
                  </a:lnTo>
                  <a:lnTo>
                    <a:pt x="1358" y="337"/>
                  </a:lnTo>
                  <a:lnTo>
                    <a:pt x="1325" y="341"/>
                  </a:lnTo>
                  <a:lnTo>
                    <a:pt x="1295" y="343"/>
                  </a:lnTo>
                  <a:lnTo>
                    <a:pt x="1255" y="343"/>
                  </a:lnTo>
                  <a:lnTo>
                    <a:pt x="1218" y="339"/>
                  </a:lnTo>
                  <a:lnTo>
                    <a:pt x="1188" y="337"/>
                  </a:lnTo>
                  <a:lnTo>
                    <a:pt x="1148" y="335"/>
                  </a:lnTo>
                  <a:lnTo>
                    <a:pt x="1107" y="332"/>
                  </a:lnTo>
                  <a:lnTo>
                    <a:pt x="1060" y="332"/>
                  </a:lnTo>
                  <a:lnTo>
                    <a:pt x="1021" y="335"/>
                  </a:lnTo>
                  <a:lnTo>
                    <a:pt x="981" y="339"/>
                  </a:lnTo>
                  <a:lnTo>
                    <a:pt x="939" y="349"/>
                  </a:lnTo>
                  <a:lnTo>
                    <a:pt x="909" y="362"/>
                  </a:lnTo>
                  <a:lnTo>
                    <a:pt x="877" y="380"/>
                  </a:lnTo>
                  <a:lnTo>
                    <a:pt x="856" y="403"/>
                  </a:lnTo>
                  <a:lnTo>
                    <a:pt x="835" y="428"/>
                  </a:lnTo>
                  <a:lnTo>
                    <a:pt x="825" y="453"/>
                  </a:lnTo>
                  <a:lnTo>
                    <a:pt x="821" y="482"/>
                  </a:lnTo>
                  <a:lnTo>
                    <a:pt x="825" y="511"/>
                  </a:lnTo>
                  <a:lnTo>
                    <a:pt x="828" y="542"/>
                  </a:lnTo>
                  <a:lnTo>
                    <a:pt x="825" y="575"/>
                  </a:lnTo>
                  <a:lnTo>
                    <a:pt x="818" y="600"/>
                  </a:lnTo>
                  <a:lnTo>
                    <a:pt x="809" y="627"/>
                  </a:lnTo>
                  <a:lnTo>
                    <a:pt x="795" y="652"/>
                  </a:lnTo>
                  <a:lnTo>
                    <a:pt x="777" y="669"/>
                  </a:lnTo>
                  <a:lnTo>
                    <a:pt x="746" y="686"/>
                  </a:lnTo>
                  <a:lnTo>
                    <a:pt x="709" y="698"/>
                  </a:lnTo>
                  <a:lnTo>
                    <a:pt x="672" y="708"/>
                  </a:lnTo>
                  <a:lnTo>
                    <a:pt x="637" y="715"/>
                  </a:lnTo>
                  <a:lnTo>
                    <a:pt x="600" y="723"/>
                  </a:lnTo>
                  <a:lnTo>
                    <a:pt x="551" y="731"/>
                  </a:lnTo>
                  <a:lnTo>
                    <a:pt x="514" y="737"/>
                  </a:lnTo>
                  <a:lnTo>
                    <a:pt x="474" y="746"/>
                  </a:lnTo>
                  <a:lnTo>
                    <a:pt x="442" y="756"/>
                  </a:lnTo>
                  <a:lnTo>
                    <a:pt x="409" y="767"/>
                  </a:lnTo>
                  <a:lnTo>
                    <a:pt x="384" y="783"/>
                  </a:lnTo>
                  <a:lnTo>
                    <a:pt x="361" y="798"/>
                  </a:lnTo>
                  <a:lnTo>
                    <a:pt x="335" y="823"/>
                  </a:lnTo>
                  <a:lnTo>
                    <a:pt x="319" y="846"/>
                  </a:lnTo>
                  <a:lnTo>
                    <a:pt x="305" y="873"/>
                  </a:lnTo>
                  <a:lnTo>
                    <a:pt x="298" y="906"/>
                  </a:lnTo>
                  <a:lnTo>
                    <a:pt x="302" y="937"/>
                  </a:lnTo>
                  <a:lnTo>
                    <a:pt x="307" y="968"/>
                  </a:lnTo>
                  <a:lnTo>
                    <a:pt x="319" y="1005"/>
                  </a:lnTo>
                  <a:lnTo>
                    <a:pt x="330" y="1045"/>
                  </a:lnTo>
                  <a:lnTo>
                    <a:pt x="340" y="1082"/>
                  </a:lnTo>
                  <a:lnTo>
                    <a:pt x="344" y="1111"/>
                  </a:lnTo>
                  <a:lnTo>
                    <a:pt x="344" y="1138"/>
                  </a:lnTo>
                  <a:lnTo>
                    <a:pt x="340" y="1174"/>
                  </a:lnTo>
                  <a:lnTo>
                    <a:pt x="328" y="1205"/>
                  </a:lnTo>
                  <a:lnTo>
                    <a:pt x="319" y="1232"/>
                  </a:lnTo>
                  <a:lnTo>
                    <a:pt x="305" y="1257"/>
                  </a:lnTo>
                  <a:lnTo>
                    <a:pt x="286" y="1290"/>
                  </a:lnTo>
                  <a:lnTo>
                    <a:pt x="261" y="1327"/>
                  </a:lnTo>
                  <a:lnTo>
                    <a:pt x="233" y="1354"/>
                  </a:lnTo>
                  <a:lnTo>
                    <a:pt x="205" y="1375"/>
                  </a:lnTo>
                  <a:lnTo>
                    <a:pt x="179" y="1394"/>
                  </a:lnTo>
                  <a:lnTo>
                    <a:pt x="151" y="1410"/>
                  </a:lnTo>
                  <a:lnTo>
                    <a:pt x="123" y="1419"/>
                  </a:lnTo>
                  <a:lnTo>
                    <a:pt x="84" y="1427"/>
                  </a:lnTo>
                  <a:lnTo>
                    <a:pt x="40" y="1433"/>
                  </a:lnTo>
                  <a:lnTo>
                    <a:pt x="0" y="1433"/>
                  </a:lnTo>
                  <a:close/>
                </a:path>
              </a:pathLst>
            </a:custGeom>
            <a:solidFill>
              <a:srgbClr val="0000FF"/>
            </a:solidFill>
            <a:ln w="30163">
              <a:solidFill>
                <a:srgbClr val="000000"/>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2292" name="Freeform 4"/>
            <p:cNvSpPr>
              <a:spLocks/>
            </p:cNvSpPr>
            <p:nvPr/>
          </p:nvSpPr>
          <p:spPr bwMode="auto">
            <a:xfrm>
              <a:off x="254000" y="3359150"/>
              <a:ext cx="4254500" cy="3435350"/>
            </a:xfrm>
            <a:custGeom>
              <a:avLst/>
              <a:gdLst/>
              <a:ahLst/>
              <a:cxnLst>
                <a:cxn ang="0">
                  <a:pos x="2680" y="2164"/>
                </a:cxn>
                <a:cxn ang="0">
                  <a:pos x="0" y="436"/>
                </a:cxn>
                <a:cxn ang="0">
                  <a:pos x="242" y="420"/>
                </a:cxn>
                <a:cxn ang="0">
                  <a:pos x="249" y="382"/>
                </a:cxn>
                <a:cxn ang="0">
                  <a:pos x="237" y="334"/>
                </a:cxn>
                <a:cxn ang="0">
                  <a:pos x="219" y="276"/>
                </a:cxn>
                <a:cxn ang="0">
                  <a:pos x="207" y="220"/>
                </a:cxn>
                <a:cxn ang="0">
                  <a:pos x="209" y="168"/>
                </a:cxn>
                <a:cxn ang="0">
                  <a:pos x="230" y="116"/>
                </a:cxn>
                <a:cxn ang="0">
                  <a:pos x="275" y="73"/>
                </a:cxn>
                <a:cxn ang="0">
                  <a:pos x="323" y="39"/>
                </a:cxn>
                <a:cxn ang="0">
                  <a:pos x="384" y="14"/>
                </a:cxn>
                <a:cxn ang="0">
                  <a:pos x="460" y="2"/>
                </a:cxn>
                <a:cxn ang="0">
                  <a:pos x="528" y="0"/>
                </a:cxn>
                <a:cxn ang="0">
                  <a:pos x="586" y="6"/>
                </a:cxn>
                <a:cxn ang="0">
                  <a:pos x="646" y="21"/>
                </a:cxn>
                <a:cxn ang="0">
                  <a:pos x="695" y="48"/>
                </a:cxn>
                <a:cxn ang="0">
                  <a:pos x="742" y="89"/>
                </a:cxn>
                <a:cxn ang="0">
                  <a:pos x="779" y="133"/>
                </a:cxn>
                <a:cxn ang="0">
                  <a:pos x="800" y="195"/>
                </a:cxn>
                <a:cxn ang="0">
                  <a:pos x="791" y="256"/>
                </a:cxn>
                <a:cxn ang="0">
                  <a:pos x="772" y="318"/>
                </a:cxn>
                <a:cxn ang="0">
                  <a:pos x="753" y="380"/>
                </a:cxn>
                <a:cxn ang="0">
                  <a:pos x="758" y="409"/>
                </a:cxn>
                <a:cxn ang="0">
                  <a:pos x="1209" y="424"/>
                </a:cxn>
                <a:cxn ang="0">
                  <a:pos x="1197" y="538"/>
                </a:cxn>
                <a:cxn ang="0">
                  <a:pos x="1202" y="605"/>
                </a:cxn>
                <a:cxn ang="0">
                  <a:pos x="1214" y="675"/>
                </a:cxn>
                <a:cxn ang="0">
                  <a:pos x="1244" y="717"/>
                </a:cxn>
                <a:cxn ang="0">
                  <a:pos x="1293" y="748"/>
                </a:cxn>
                <a:cxn ang="0">
                  <a:pos x="1353" y="762"/>
                </a:cxn>
                <a:cxn ang="0">
                  <a:pos x="1423" y="764"/>
                </a:cxn>
                <a:cxn ang="0">
                  <a:pos x="1490" y="758"/>
                </a:cxn>
                <a:cxn ang="0">
                  <a:pos x="1574" y="750"/>
                </a:cxn>
                <a:cxn ang="0">
                  <a:pos x="1660" y="754"/>
                </a:cxn>
                <a:cxn ang="0">
                  <a:pos x="1739" y="771"/>
                </a:cxn>
                <a:cxn ang="0">
                  <a:pos x="1804" y="802"/>
                </a:cxn>
                <a:cxn ang="0">
                  <a:pos x="1843" y="848"/>
                </a:cxn>
                <a:cxn ang="0">
                  <a:pos x="1860" y="902"/>
                </a:cxn>
                <a:cxn ang="0">
                  <a:pos x="1853" y="964"/>
                </a:cxn>
                <a:cxn ang="0">
                  <a:pos x="1860" y="1022"/>
                </a:cxn>
                <a:cxn ang="0">
                  <a:pos x="1885" y="1072"/>
                </a:cxn>
                <a:cxn ang="0">
                  <a:pos x="1932" y="1107"/>
                </a:cxn>
                <a:cxn ang="0">
                  <a:pos x="2009" y="1128"/>
                </a:cxn>
                <a:cxn ang="0">
                  <a:pos x="2081" y="1143"/>
                </a:cxn>
                <a:cxn ang="0">
                  <a:pos x="2167" y="1157"/>
                </a:cxn>
                <a:cxn ang="0">
                  <a:pos x="2239" y="1176"/>
                </a:cxn>
                <a:cxn ang="0">
                  <a:pos x="2297" y="1203"/>
                </a:cxn>
                <a:cxn ang="0">
                  <a:pos x="2346" y="1244"/>
                </a:cxn>
                <a:cxn ang="0">
                  <a:pos x="2376" y="1292"/>
                </a:cxn>
                <a:cxn ang="0">
                  <a:pos x="2378" y="1359"/>
                </a:cxn>
                <a:cxn ang="0">
                  <a:pos x="2362" y="1425"/>
                </a:cxn>
                <a:cxn ang="0">
                  <a:pos x="2339" y="1502"/>
                </a:cxn>
                <a:cxn ang="0">
                  <a:pos x="2334" y="1558"/>
                </a:cxn>
                <a:cxn ang="0">
                  <a:pos x="2350" y="1626"/>
                </a:cxn>
                <a:cxn ang="0">
                  <a:pos x="2380" y="1672"/>
                </a:cxn>
                <a:cxn ang="0">
                  <a:pos x="2429" y="1722"/>
                </a:cxn>
                <a:cxn ang="0">
                  <a:pos x="2494" y="1761"/>
                </a:cxn>
                <a:cxn ang="0">
                  <a:pos x="2562" y="1778"/>
                </a:cxn>
                <a:cxn ang="0">
                  <a:pos x="2638" y="1784"/>
                </a:cxn>
              </a:cxnLst>
              <a:rect l="0" t="0" r="r" b="b"/>
              <a:pathLst>
                <a:path w="2680" h="2164">
                  <a:moveTo>
                    <a:pt x="2680" y="1782"/>
                  </a:moveTo>
                  <a:lnTo>
                    <a:pt x="2680" y="2164"/>
                  </a:lnTo>
                  <a:lnTo>
                    <a:pt x="3" y="2164"/>
                  </a:lnTo>
                  <a:lnTo>
                    <a:pt x="0" y="436"/>
                  </a:lnTo>
                  <a:lnTo>
                    <a:pt x="233" y="436"/>
                  </a:lnTo>
                  <a:lnTo>
                    <a:pt x="242" y="420"/>
                  </a:lnTo>
                  <a:lnTo>
                    <a:pt x="249" y="399"/>
                  </a:lnTo>
                  <a:lnTo>
                    <a:pt x="249" y="382"/>
                  </a:lnTo>
                  <a:lnTo>
                    <a:pt x="247" y="361"/>
                  </a:lnTo>
                  <a:lnTo>
                    <a:pt x="237" y="334"/>
                  </a:lnTo>
                  <a:lnTo>
                    <a:pt x="228" y="299"/>
                  </a:lnTo>
                  <a:lnTo>
                    <a:pt x="219" y="276"/>
                  </a:lnTo>
                  <a:lnTo>
                    <a:pt x="209" y="247"/>
                  </a:lnTo>
                  <a:lnTo>
                    <a:pt x="207" y="220"/>
                  </a:lnTo>
                  <a:lnTo>
                    <a:pt x="207" y="193"/>
                  </a:lnTo>
                  <a:lnTo>
                    <a:pt x="209" y="168"/>
                  </a:lnTo>
                  <a:lnTo>
                    <a:pt x="219" y="141"/>
                  </a:lnTo>
                  <a:lnTo>
                    <a:pt x="230" y="116"/>
                  </a:lnTo>
                  <a:lnTo>
                    <a:pt x="249" y="96"/>
                  </a:lnTo>
                  <a:lnTo>
                    <a:pt x="275" y="73"/>
                  </a:lnTo>
                  <a:lnTo>
                    <a:pt x="298" y="56"/>
                  </a:lnTo>
                  <a:lnTo>
                    <a:pt x="323" y="39"/>
                  </a:lnTo>
                  <a:lnTo>
                    <a:pt x="351" y="25"/>
                  </a:lnTo>
                  <a:lnTo>
                    <a:pt x="384" y="14"/>
                  </a:lnTo>
                  <a:lnTo>
                    <a:pt x="421" y="6"/>
                  </a:lnTo>
                  <a:lnTo>
                    <a:pt x="460" y="2"/>
                  </a:lnTo>
                  <a:lnTo>
                    <a:pt x="493" y="0"/>
                  </a:lnTo>
                  <a:lnTo>
                    <a:pt x="528" y="0"/>
                  </a:lnTo>
                  <a:lnTo>
                    <a:pt x="560" y="2"/>
                  </a:lnTo>
                  <a:lnTo>
                    <a:pt x="586" y="6"/>
                  </a:lnTo>
                  <a:lnTo>
                    <a:pt x="616" y="14"/>
                  </a:lnTo>
                  <a:lnTo>
                    <a:pt x="646" y="21"/>
                  </a:lnTo>
                  <a:lnTo>
                    <a:pt x="670" y="33"/>
                  </a:lnTo>
                  <a:lnTo>
                    <a:pt x="695" y="48"/>
                  </a:lnTo>
                  <a:lnTo>
                    <a:pt x="718" y="68"/>
                  </a:lnTo>
                  <a:lnTo>
                    <a:pt x="742" y="89"/>
                  </a:lnTo>
                  <a:lnTo>
                    <a:pt x="763" y="110"/>
                  </a:lnTo>
                  <a:lnTo>
                    <a:pt x="779" y="133"/>
                  </a:lnTo>
                  <a:lnTo>
                    <a:pt x="791" y="162"/>
                  </a:lnTo>
                  <a:lnTo>
                    <a:pt x="800" y="195"/>
                  </a:lnTo>
                  <a:lnTo>
                    <a:pt x="800" y="226"/>
                  </a:lnTo>
                  <a:lnTo>
                    <a:pt x="791" y="256"/>
                  </a:lnTo>
                  <a:lnTo>
                    <a:pt x="781" y="287"/>
                  </a:lnTo>
                  <a:lnTo>
                    <a:pt x="772" y="318"/>
                  </a:lnTo>
                  <a:lnTo>
                    <a:pt x="760" y="353"/>
                  </a:lnTo>
                  <a:lnTo>
                    <a:pt x="753" y="380"/>
                  </a:lnTo>
                  <a:lnTo>
                    <a:pt x="753" y="395"/>
                  </a:lnTo>
                  <a:lnTo>
                    <a:pt x="758" y="409"/>
                  </a:lnTo>
                  <a:lnTo>
                    <a:pt x="765" y="424"/>
                  </a:lnTo>
                  <a:lnTo>
                    <a:pt x="1209" y="424"/>
                  </a:lnTo>
                  <a:lnTo>
                    <a:pt x="1200" y="496"/>
                  </a:lnTo>
                  <a:lnTo>
                    <a:pt x="1197" y="538"/>
                  </a:lnTo>
                  <a:lnTo>
                    <a:pt x="1200" y="573"/>
                  </a:lnTo>
                  <a:lnTo>
                    <a:pt x="1202" y="605"/>
                  </a:lnTo>
                  <a:lnTo>
                    <a:pt x="1207" y="640"/>
                  </a:lnTo>
                  <a:lnTo>
                    <a:pt x="1214" y="675"/>
                  </a:lnTo>
                  <a:lnTo>
                    <a:pt x="1228" y="698"/>
                  </a:lnTo>
                  <a:lnTo>
                    <a:pt x="1244" y="717"/>
                  </a:lnTo>
                  <a:lnTo>
                    <a:pt x="1265" y="735"/>
                  </a:lnTo>
                  <a:lnTo>
                    <a:pt x="1293" y="748"/>
                  </a:lnTo>
                  <a:lnTo>
                    <a:pt x="1323" y="758"/>
                  </a:lnTo>
                  <a:lnTo>
                    <a:pt x="1353" y="762"/>
                  </a:lnTo>
                  <a:lnTo>
                    <a:pt x="1386" y="764"/>
                  </a:lnTo>
                  <a:lnTo>
                    <a:pt x="1423" y="764"/>
                  </a:lnTo>
                  <a:lnTo>
                    <a:pt x="1462" y="760"/>
                  </a:lnTo>
                  <a:lnTo>
                    <a:pt x="1490" y="758"/>
                  </a:lnTo>
                  <a:lnTo>
                    <a:pt x="1532" y="754"/>
                  </a:lnTo>
                  <a:lnTo>
                    <a:pt x="1574" y="750"/>
                  </a:lnTo>
                  <a:lnTo>
                    <a:pt x="1620" y="750"/>
                  </a:lnTo>
                  <a:lnTo>
                    <a:pt x="1660" y="754"/>
                  </a:lnTo>
                  <a:lnTo>
                    <a:pt x="1699" y="760"/>
                  </a:lnTo>
                  <a:lnTo>
                    <a:pt x="1739" y="771"/>
                  </a:lnTo>
                  <a:lnTo>
                    <a:pt x="1771" y="783"/>
                  </a:lnTo>
                  <a:lnTo>
                    <a:pt x="1804" y="802"/>
                  </a:lnTo>
                  <a:lnTo>
                    <a:pt x="1825" y="823"/>
                  </a:lnTo>
                  <a:lnTo>
                    <a:pt x="1843" y="848"/>
                  </a:lnTo>
                  <a:lnTo>
                    <a:pt x="1855" y="875"/>
                  </a:lnTo>
                  <a:lnTo>
                    <a:pt x="1860" y="902"/>
                  </a:lnTo>
                  <a:lnTo>
                    <a:pt x="1855" y="933"/>
                  </a:lnTo>
                  <a:lnTo>
                    <a:pt x="1853" y="964"/>
                  </a:lnTo>
                  <a:lnTo>
                    <a:pt x="1855" y="995"/>
                  </a:lnTo>
                  <a:lnTo>
                    <a:pt x="1860" y="1022"/>
                  </a:lnTo>
                  <a:lnTo>
                    <a:pt x="1871" y="1047"/>
                  </a:lnTo>
                  <a:lnTo>
                    <a:pt x="1885" y="1072"/>
                  </a:lnTo>
                  <a:lnTo>
                    <a:pt x="1904" y="1089"/>
                  </a:lnTo>
                  <a:lnTo>
                    <a:pt x="1932" y="1107"/>
                  </a:lnTo>
                  <a:lnTo>
                    <a:pt x="1969" y="1118"/>
                  </a:lnTo>
                  <a:lnTo>
                    <a:pt x="2009" y="1128"/>
                  </a:lnTo>
                  <a:lnTo>
                    <a:pt x="2041" y="1136"/>
                  </a:lnTo>
                  <a:lnTo>
                    <a:pt x="2081" y="1143"/>
                  </a:lnTo>
                  <a:lnTo>
                    <a:pt x="2127" y="1151"/>
                  </a:lnTo>
                  <a:lnTo>
                    <a:pt x="2167" y="1157"/>
                  </a:lnTo>
                  <a:lnTo>
                    <a:pt x="2206" y="1167"/>
                  </a:lnTo>
                  <a:lnTo>
                    <a:pt x="2239" y="1176"/>
                  </a:lnTo>
                  <a:lnTo>
                    <a:pt x="2271" y="1188"/>
                  </a:lnTo>
                  <a:lnTo>
                    <a:pt x="2297" y="1203"/>
                  </a:lnTo>
                  <a:lnTo>
                    <a:pt x="2318" y="1219"/>
                  </a:lnTo>
                  <a:lnTo>
                    <a:pt x="2346" y="1244"/>
                  </a:lnTo>
                  <a:lnTo>
                    <a:pt x="2362" y="1267"/>
                  </a:lnTo>
                  <a:lnTo>
                    <a:pt x="2376" y="1292"/>
                  </a:lnTo>
                  <a:lnTo>
                    <a:pt x="2383" y="1327"/>
                  </a:lnTo>
                  <a:lnTo>
                    <a:pt x="2378" y="1359"/>
                  </a:lnTo>
                  <a:lnTo>
                    <a:pt x="2371" y="1388"/>
                  </a:lnTo>
                  <a:lnTo>
                    <a:pt x="2362" y="1425"/>
                  </a:lnTo>
                  <a:lnTo>
                    <a:pt x="2350" y="1465"/>
                  </a:lnTo>
                  <a:lnTo>
                    <a:pt x="2339" y="1502"/>
                  </a:lnTo>
                  <a:lnTo>
                    <a:pt x="2334" y="1533"/>
                  </a:lnTo>
                  <a:lnTo>
                    <a:pt x="2334" y="1558"/>
                  </a:lnTo>
                  <a:lnTo>
                    <a:pt x="2341" y="1595"/>
                  </a:lnTo>
                  <a:lnTo>
                    <a:pt x="2350" y="1626"/>
                  </a:lnTo>
                  <a:lnTo>
                    <a:pt x="2364" y="1649"/>
                  </a:lnTo>
                  <a:lnTo>
                    <a:pt x="2380" y="1672"/>
                  </a:lnTo>
                  <a:lnTo>
                    <a:pt x="2404" y="1697"/>
                  </a:lnTo>
                  <a:lnTo>
                    <a:pt x="2429" y="1722"/>
                  </a:lnTo>
                  <a:lnTo>
                    <a:pt x="2459" y="1743"/>
                  </a:lnTo>
                  <a:lnTo>
                    <a:pt x="2494" y="1761"/>
                  </a:lnTo>
                  <a:lnTo>
                    <a:pt x="2527" y="1770"/>
                  </a:lnTo>
                  <a:lnTo>
                    <a:pt x="2562" y="1778"/>
                  </a:lnTo>
                  <a:lnTo>
                    <a:pt x="2597" y="1782"/>
                  </a:lnTo>
                  <a:lnTo>
                    <a:pt x="2638" y="1784"/>
                  </a:lnTo>
                  <a:lnTo>
                    <a:pt x="2680" y="1782"/>
                  </a:lnTo>
                  <a:close/>
                </a:path>
              </a:pathLst>
            </a:custGeom>
            <a:solidFill>
              <a:srgbClr val="990099"/>
            </a:solidFill>
            <a:ln w="30163">
              <a:solidFill>
                <a:srgbClr val="000000"/>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2293" name="Freeform 5"/>
            <p:cNvSpPr>
              <a:spLocks/>
            </p:cNvSpPr>
            <p:nvPr/>
          </p:nvSpPr>
          <p:spPr bwMode="auto">
            <a:xfrm>
              <a:off x="254000" y="1176338"/>
              <a:ext cx="4273550" cy="2878137"/>
            </a:xfrm>
            <a:custGeom>
              <a:avLst/>
              <a:gdLst/>
              <a:ahLst/>
              <a:cxnLst>
                <a:cxn ang="0">
                  <a:pos x="2692" y="0"/>
                </a:cxn>
                <a:cxn ang="0">
                  <a:pos x="3" y="1813"/>
                </a:cxn>
                <a:cxn ang="0">
                  <a:pos x="254" y="1778"/>
                </a:cxn>
                <a:cxn ang="0">
                  <a:pos x="247" y="1718"/>
                </a:cxn>
                <a:cxn ang="0">
                  <a:pos x="219" y="1637"/>
                </a:cxn>
                <a:cxn ang="0">
                  <a:pos x="209" y="1572"/>
                </a:cxn>
                <a:cxn ang="0">
                  <a:pos x="228" y="1504"/>
                </a:cxn>
                <a:cxn ang="0">
                  <a:pos x="284" y="1446"/>
                </a:cxn>
                <a:cxn ang="0">
                  <a:pos x="354" y="1404"/>
                </a:cxn>
                <a:cxn ang="0">
                  <a:pos x="437" y="1383"/>
                </a:cxn>
                <a:cxn ang="0">
                  <a:pos x="558" y="1385"/>
                </a:cxn>
                <a:cxn ang="0">
                  <a:pos x="637" y="1398"/>
                </a:cxn>
                <a:cxn ang="0">
                  <a:pos x="716" y="1444"/>
                </a:cxn>
                <a:cxn ang="0">
                  <a:pos x="770" y="1500"/>
                </a:cxn>
                <a:cxn ang="0">
                  <a:pos x="793" y="1560"/>
                </a:cxn>
                <a:cxn ang="0">
                  <a:pos x="788" y="1626"/>
                </a:cxn>
                <a:cxn ang="0">
                  <a:pos x="770" y="1685"/>
                </a:cxn>
                <a:cxn ang="0">
                  <a:pos x="751" y="1747"/>
                </a:cxn>
                <a:cxn ang="0">
                  <a:pos x="760" y="1805"/>
                </a:cxn>
                <a:cxn ang="0">
                  <a:pos x="1207" y="1741"/>
                </a:cxn>
                <a:cxn ang="0">
                  <a:pos x="1211" y="1660"/>
                </a:cxn>
                <a:cxn ang="0">
                  <a:pos x="1218" y="1593"/>
                </a:cxn>
                <a:cxn ang="0">
                  <a:pos x="1239" y="1535"/>
                </a:cxn>
                <a:cxn ang="0">
                  <a:pos x="1279" y="1497"/>
                </a:cxn>
                <a:cxn ang="0">
                  <a:pos x="1334" y="1475"/>
                </a:cxn>
                <a:cxn ang="0">
                  <a:pos x="1397" y="1470"/>
                </a:cxn>
                <a:cxn ang="0">
                  <a:pos x="1474" y="1471"/>
                </a:cxn>
                <a:cxn ang="0">
                  <a:pos x="1544" y="1477"/>
                </a:cxn>
                <a:cxn ang="0">
                  <a:pos x="1632" y="1481"/>
                </a:cxn>
                <a:cxn ang="0">
                  <a:pos x="1711" y="1471"/>
                </a:cxn>
                <a:cxn ang="0">
                  <a:pos x="1783" y="1450"/>
                </a:cxn>
                <a:cxn ang="0">
                  <a:pos x="1837" y="1410"/>
                </a:cxn>
                <a:cxn ang="0">
                  <a:pos x="1867" y="1360"/>
                </a:cxn>
                <a:cxn ang="0">
                  <a:pos x="1867" y="1302"/>
                </a:cxn>
                <a:cxn ang="0">
                  <a:pos x="1867" y="1238"/>
                </a:cxn>
                <a:cxn ang="0">
                  <a:pos x="1883" y="1186"/>
                </a:cxn>
                <a:cxn ang="0">
                  <a:pos x="1916" y="1144"/>
                </a:cxn>
                <a:cxn ang="0">
                  <a:pos x="1983" y="1115"/>
                </a:cxn>
                <a:cxn ang="0">
                  <a:pos x="2055" y="1097"/>
                </a:cxn>
                <a:cxn ang="0">
                  <a:pos x="2141" y="1082"/>
                </a:cxn>
                <a:cxn ang="0">
                  <a:pos x="2218" y="1067"/>
                </a:cxn>
                <a:cxn ang="0">
                  <a:pos x="2283" y="1045"/>
                </a:cxn>
                <a:cxn ang="0">
                  <a:pos x="2332" y="1014"/>
                </a:cxn>
                <a:cxn ang="0">
                  <a:pos x="2373" y="966"/>
                </a:cxn>
                <a:cxn ang="0">
                  <a:pos x="2394" y="905"/>
                </a:cxn>
                <a:cxn ang="0">
                  <a:pos x="2385" y="845"/>
                </a:cxn>
                <a:cxn ang="0">
                  <a:pos x="2362" y="768"/>
                </a:cxn>
                <a:cxn ang="0">
                  <a:pos x="2348" y="702"/>
                </a:cxn>
                <a:cxn ang="0">
                  <a:pos x="2353" y="638"/>
                </a:cxn>
                <a:cxn ang="0">
                  <a:pos x="2376" y="584"/>
                </a:cxn>
                <a:cxn ang="0">
                  <a:pos x="2415" y="536"/>
                </a:cxn>
                <a:cxn ang="0">
                  <a:pos x="2473" y="490"/>
                </a:cxn>
                <a:cxn ang="0">
                  <a:pos x="2541" y="463"/>
                </a:cxn>
                <a:cxn ang="0">
                  <a:pos x="2608" y="451"/>
                </a:cxn>
                <a:cxn ang="0">
                  <a:pos x="2692" y="451"/>
                </a:cxn>
              </a:cxnLst>
              <a:rect l="0" t="0" r="r" b="b"/>
              <a:pathLst>
                <a:path w="2692" h="1813">
                  <a:moveTo>
                    <a:pt x="2692" y="451"/>
                  </a:moveTo>
                  <a:lnTo>
                    <a:pt x="2692" y="0"/>
                  </a:lnTo>
                  <a:lnTo>
                    <a:pt x="0" y="0"/>
                  </a:lnTo>
                  <a:lnTo>
                    <a:pt x="3" y="1813"/>
                  </a:lnTo>
                  <a:lnTo>
                    <a:pt x="242" y="1813"/>
                  </a:lnTo>
                  <a:lnTo>
                    <a:pt x="254" y="1778"/>
                  </a:lnTo>
                  <a:lnTo>
                    <a:pt x="254" y="1753"/>
                  </a:lnTo>
                  <a:lnTo>
                    <a:pt x="247" y="1718"/>
                  </a:lnTo>
                  <a:lnTo>
                    <a:pt x="233" y="1682"/>
                  </a:lnTo>
                  <a:lnTo>
                    <a:pt x="219" y="1637"/>
                  </a:lnTo>
                  <a:lnTo>
                    <a:pt x="212" y="1603"/>
                  </a:lnTo>
                  <a:lnTo>
                    <a:pt x="209" y="1572"/>
                  </a:lnTo>
                  <a:lnTo>
                    <a:pt x="216" y="1537"/>
                  </a:lnTo>
                  <a:lnTo>
                    <a:pt x="228" y="1504"/>
                  </a:lnTo>
                  <a:lnTo>
                    <a:pt x="254" y="1471"/>
                  </a:lnTo>
                  <a:lnTo>
                    <a:pt x="284" y="1446"/>
                  </a:lnTo>
                  <a:lnTo>
                    <a:pt x="316" y="1421"/>
                  </a:lnTo>
                  <a:lnTo>
                    <a:pt x="354" y="1404"/>
                  </a:lnTo>
                  <a:lnTo>
                    <a:pt x="398" y="1389"/>
                  </a:lnTo>
                  <a:lnTo>
                    <a:pt x="437" y="1383"/>
                  </a:lnTo>
                  <a:lnTo>
                    <a:pt x="493" y="1381"/>
                  </a:lnTo>
                  <a:lnTo>
                    <a:pt x="558" y="1385"/>
                  </a:lnTo>
                  <a:lnTo>
                    <a:pt x="600" y="1389"/>
                  </a:lnTo>
                  <a:lnTo>
                    <a:pt x="637" y="1398"/>
                  </a:lnTo>
                  <a:lnTo>
                    <a:pt x="672" y="1416"/>
                  </a:lnTo>
                  <a:lnTo>
                    <a:pt x="716" y="1444"/>
                  </a:lnTo>
                  <a:lnTo>
                    <a:pt x="744" y="1471"/>
                  </a:lnTo>
                  <a:lnTo>
                    <a:pt x="770" y="1500"/>
                  </a:lnTo>
                  <a:lnTo>
                    <a:pt x="784" y="1531"/>
                  </a:lnTo>
                  <a:lnTo>
                    <a:pt x="793" y="1560"/>
                  </a:lnTo>
                  <a:lnTo>
                    <a:pt x="793" y="1593"/>
                  </a:lnTo>
                  <a:lnTo>
                    <a:pt x="788" y="1626"/>
                  </a:lnTo>
                  <a:lnTo>
                    <a:pt x="779" y="1657"/>
                  </a:lnTo>
                  <a:lnTo>
                    <a:pt x="770" y="1685"/>
                  </a:lnTo>
                  <a:lnTo>
                    <a:pt x="758" y="1716"/>
                  </a:lnTo>
                  <a:lnTo>
                    <a:pt x="751" y="1747"/>
                  </a:lnTo>
                  <a:lnTo>
                    <a:pt x="751" y="1774"/>
                  </a:lnTo>
                  <a:lnTo>
                    <a:pt x="760" y="1805"/>
                  </a:lnTo>
                  <a:lnTo>
                    <a:pt x="1211" y="1805"/>
                  </a:lnTo>
                  <a:lnTo>
                    <a:pt x="1207" y="1741"/>
                  </a:lnTo>
                  <a:lnTo>
                    <a:pt x="1211" y="1695"/>
                  </a:lnTo>
                  <a:lnTo>
                    <a:pt x="1211" y="1660"/>
                  </a:lnTo>
                  <a:lnTo>
                    <a:pt x="1214" y="1628"/>
                  </a:lnTo>
                  <a:lnTo>
                    <a:pt x="1218" y="1593"/>
                  </a:lnTo>
                  <a:lnTo>
                    <a:pt x="1228" y="1558"/>
                  </a:lnTo>
                  <a:lnTo>
                    <a:pt x="1239" y="1535"/>
                  </a:lnTo>
                  <a:lnTo>
                    <a:pt x="1255" y="1514"/>
                  </a:lnTo>
                  <a:lnTo>
                    <a:pt x="1279" y="1497"/>
                  </a:lnTo>
                  <a:lnTo>
                    <a:pt x="1304" y="1483"/>
                  </a:lnTo>
                  <a:lnTo>
                    <a:pt x="1334" y="1475"/>
                  </a:lnTo>
                  <a:lnTo>
                    <a:pt x="1367" y="1471"/>
                  </a:lnTo>
                  <a:lnTo>
                    <a:pt x="1397" y="1470"/>
                  </a:lnTo>
                  <a:lnTo>
                    <a:pt x="1437" y="1470"/>
                  </a:lnTo>
                  <a:lnTo>
                    <a:pt x="1474" y="1471"/>
                  </a:lnTo>
                  <a:lnTo>
                    <a:pt x="1504" y="1475"/>
                  </a:lnTo>
                  <a:lnTo>
                    <a:pt x="1544" y="1477"/>
                  </a:lnTo>
                  <a:lnTo>
                    <a:pt x="1585" y="1481"/>
                  </a:lnTo>
                  <a:lnTo>
                    <a:pt x="1632" y="1481"/>
                  </a:lnTo>
                  <a:lnTo>
                    <a:pt x="1671" y="1477"/>
                  </a:lnTo>
                  <a:lnTo>
                    <a:pt x="1711" y="1471"/>
                  </a:lnTo>
                  <a:lnTo>
                    <a:pt x="1753" y="1464"/>
                  </a:lnTo>
                  <a:lnTo>
                    <a:pt x="1783" y="1450"/>
                  </a:lnTo>
                  <a:lnTo>
                    <a:pt x="1816" y="1433"/>
                  </a:lnTo>
                  <a:lnTo>
                    <a:pt x="1837" y="1410"/>
                  </a:lnTo>
                  <a:lnTo>
                    <a:pt x="1857" y="1385"/>
                  </a:lnTo>
                  <a:lnTo>
                    <a:pt x="1867" y="1360"/>
                  </a:lnTo>
                  <a:lnTo>
                    <a:pt x="1871" y="1331"/>
                  </a:lnTo>
                  <a:lnTo>
                    <a:pt x="1867" y="1302"/>
                  </a:lnTo>
                  <a:lnTo>
                    <a:pt x="1864" y="1271"/>
                  </a:lnTo>
                  <a:lnTo>
                    <a:pt x="1867" y="1238"/>
                  </a:lnTo>
                  <a:lnTo>
                    <a:pt x="1874" y="1213"/>
                  </a:lnTo>
                  <a:lnTo>
                    <a:pt x="1883" y="1186"/>
                  </a:lnTo>
                  <a:lnTo>
                    <a:pt x="1897" y="1161"/>
                  </a:lnTo>
                  <a:lnTo>
                    <a:pt x="1916" y="1144"/>
                  </a:lnTo>
                  <a:lnTo>
                    <a:pt x="1946" y="1126"/>
                  </a:lnTo>
                  <a:lnTo>
                    <a:pt x="1983" y="1115"/>
                  </a:lnTo>
                  <a:lnTo>
                    <a:pt x="2020" y="1105"/>
                  </a:lnTo>
                  <a:lnTo>
                    <a:pt x="2055" y="1097"/>
                  </a:lnTo>
                  <a:lnTo>
                    <a:pt x="2092" y="1090"/>
                  </a:lnTo>
                  <a:lnTo>
                    <a:pt x="2141" y="1082"/>
                  </a:lnTo>
                  <a:lnTo>
                    <a:pt x="2178" y="1076"/>
                  </a:lnTo>
                  <a:lnTo>
                    <a:pt x="2218" y="1067"/>
                  </a:lnTo>
                  <a:lnTo>
                    <a:pt x="2250" y="1057"/>
                  </a:lnTo>
                  <a:lnTo>
                    <a:pt x="2283" y="1045"/>
                  </a:lnTo>
                  <a:lnTo>
                    <a:pt x="2308" y="1030"/>
                  </a:lnTo>
                  <a:lnTo>
                    <a:pt x="2332" y="1014"/>
                  </a:lnTo>
                  <a:lnTo>
                    <a:pt x="2357" y="989"/>
                  </a:lnTo>
                  <a:lnTo>
                    <a:pt x="2373" y="966"/>
                  </a:lnTo>
                  <a:lnTo>
                    <a:pt x="2387" y="939"/>
                  </a:lnTo>
                  <a:lnTo>
                    <a:pt x="2394" y="905"/>
                  </a:lnTo>
                  <a:lnTo>
                    <a:pt x="2390" y="876"/>
                  </a:lnTo>
                  <a:lnTo>
                    <a:pt x="2385" y="845"/>
                  </a:lnTo>
                  <a:lnTo>
                    <a:pt x="2373" y="808"/>
                  </a:lnTo>
                  <a:lnTo>
                    <a:pt x="2362" y="768"/>
                  </a:lnTo>
                  <a:lnTo>
                    <a:pt x="2350" y="731"/>
                  </a:lnTo>
                  <a:lnTo>
                    <a:pt x="2348" y="702"/>
                  </a:lnTo>
                  <a:lnTo>
                    <a:pt x="2348" y="675"/>
                  </a:lnTo>
                  <a:lnTo>
                    <a:pt x="2353" y="638"/>
                  </a:lnTo>
                  <a:lnTo>
                    <a:pt x="2364" y="608"/>
                  </a:lnTo>
                  <a:lnTo>
                    <a:pt x="2376" y="584"/>
                  </a:lnTo>
                  <a:lnTo>
                    <a:pt x="2392" y="561"/>
                  </a:lnTo>
                  <a:lnTo>
                    <a:pt x="2415" y="536"/>
                  </a:lnTo>
                  <a:lnTo>
                    <a:pt x="2441" y="511"/>
                  </a:lnTo>
                  <a:lnTo>
                    <a:pt x="2473" y="490"/>
                  </a:lnTo>
                  <a:lnTo>
                    <a:pt x="2508" y="473"/>
                  </a:lnTo>
                  <a:lnTo>
                    <a:pt x="2541" y="463"/>
                  </a:lnTo>
                  <a:lnTo>
                    <a:pt x="2573" y="455"/>
                  </a:lnTo>
                  <a:lnTo>
                    <a:pt x="2608" y="451"/>
                  </a:lnTo>
                  <a:lnTo>
                    <a:pt x="2650" y="451"/>
                  </a:lnTo>
                  <a:lnTo>
                    <a:pt x="2692" y="451"/>
                  </a:lnTo>
                  <a:close/>
                </a:path>
              </a:pathLst>
            </a:custGeom>
            <a:solidFill>
              <a:srgbClr val="009999"/>
            </a:solidFill>
            <a:ln w="30163">
              <a:solidFill>
                <a:srgbClr val="000000"/>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2294" name="Freeform 6"/>
            <p:cNvSpPr>
              <a:spLocks/>
            </p:cNvSpPr>
            <p:nvPr/>
          </p:nvSpPr>
          <p:spPr bwMode="auto">
            <a:xfrm>
              <a:off x="2139950" y="1887538"/>
              <a:ext cx="4737100" cy="4306887"/>
            </a:xfrm>
            <a:custGeom>
              <a:avLst/>
              <a:gdLst/>
              <a:ahLst/>
              <a:cxnLst>
                <a:cxn ang="0">
                  <a:pos x="1199" y="431"/>
                </a:cxn>
                <a:cxn ang="0">
                  <a:pos x="1158" y="206"/>
                </a:cxn>
                <a:cxn ang="0">
                  <a:pos x="1304" y="25"/>
                </a:cxn>
                <a:cxn ang="0">
                  <a:pos x="1639" y="5"/>
                </a:cxn>
                <a:cxn ang="0">
                  <a:pos x="1804" y="111"/>
                </a:cxn>
                <a:cxn ang="0">
                  <a:pos x="1841" y="297"/>
                </a:cxn>
                <a:cxn ang="0">
                  <a:pos x="1808" y="495"/>
                </a:cxn>
                <a:cxn ang="0">
                  <a:pos x="1971" y="613"/>
                </a:cxn>
                <a:cxn ang="0">
                  <a:pos x="2217" y="663"/>
                </a:cxn>
                <a:cxn ang="0">
                  <a:pos x="2320" y="755"/>
                </a:cxn>
                <a:cxn ang="0">
                  <a:pos x="2324" y="887"/>
                </a:cxn>
                <a:cxn ang="0">
                  <a:pos x="2420" y="1004"/>
                </a:cxn>
                <a:cxn ang="0">
                  <a:pos x="2615" y="1027"/>
                </a:cxn>
                <a:cxn ang="0">
                  <a:pos x="2826" y="1018"/>
                </a:cxn>
                <a:cxn ang="0">
                  <a:pos x="2952" y="1076"/>
                </a:cxn>
                <a:cxn ang="0">
                  <a:pos x="2982" y="1282"/>
                </a:cxn>
                <a:cxn ang="0">
                  <a:pos x="2952" y="1558"/>
                </a:cxn>
                <a:cxn ang="0">
                  <a:pos x="2824" y="1623"/>
                </a:cxn>
                <a:cxn ang="0">
                  <a:pos x="2594" y="1613"/>
                </a:cxn>
                <a:cxn ang="0">
                  <a:pos x="2424" y="1635"/>
                </a:cxn>
                <a:cxn ang="0">
                  <a:pos x="2329" y="1716"/>
                </a:cxn>
                <a:cxn ang="0">
                  <a:pos x="2320" y="1872"/>
                </a:cxn>
                <a:cxn ang="0">
                  <a:pos x="2210" y="1980"/>
                </a:cxn>
                <a:cxn ang="0">
                  <a:pos x="2013" y="2016"/>
                </a:cxn>
                <a:cxn ang="0">
                  <a:pos x="1841" y="2092"/>
                </a:cxn>
                <a:cxn ang="0">
                  <a:pos x="1804" y="2244"/>
                </a:cxn>
                <a:cxn ang="0">
                  <a:pos x="1841" y="2431"/>
                </a:cxn>
                <a:cxn ang="0">
                  <a:pos x="1760" y="2608"/>
                </a:cxn>
                <a:cxn ang="0">
                  <a:pos x="1615" y="2701"/>
                </a:cxn>
                <a:cxn ang="0">
                  <a:pos x="1392" y="2711"/>
                </a:cxn>
                <a:cxn ang="0">
                  <a:pos x="1225" y="2641"/>
                </a:cxn>
                <a:cxn ang="0">
                  <a:pos x="1146" y="2508"/>
                </a:cxn>
                <a:cxn ang="0">
                  <a:pos x="1167" y="2352"/>
                </a:cxn>
                <a:cxn ang="0">
                  <a:pos x="1178" y="2211"/>
                </a:cxn>
                <a:cxn ang="0">
                  <a:pos x="1067" y="2111"/>
                </a:cxn>
                <a:cxn ang="0">
                  <a:pos x="883" y="2072"/>
                </a:cxn>
                <a:cxn ang="0">
                  <a:pos x="707" y="2015"/>
                </a:cxn>
                <a:cxn ang="0">
                  <a:pos x="660" y="1858"/>
                </a:cxn>
                <a:cxn ang="0">
                  <a:pos x="607" y="1729"/>
                </a:cxn>
                <a:cxn ang="0">
                  <a:pos x="430" y="1681"/>
                </a:cxn>
                <a:cxn ang="0">
                  <a:pos x="251" y="1694"/>
                </a:cxn>
                <a:cxn ang="0">
                  <a:pos x="58" y="1654"/>
                </a:cxn>
                <a:cxn ang="0">
                  <a:pos x="2" y="1473"/>
                </a:cxn>
                <a:cxn ang="0">
                  <a:pos x="14" y="1212"/>
                </a:cxn>
                <a:cxn ang="0">
                  <a:pos x="72" y="1056"/>
                </a:cxn>
                <a:cxn ang="0">
                  <a:pos x="221" y="1016"/>
                </a:cxn>
                <a:cxn ang="0">
                  <a:pos x="442" y="1029"/>
                </a:cxn>
                <a:cxn ang="0">
                  <a:pos x="637" y="968"/>
                </a:cxn>
                <a:cxn ang="0">
                  <a:pos x="672" y="823"/>
                </a:cxn>
                <a:cxn ang="0">
                  <a:pos x="744" y="680"/>
                </a:cxn>
                <a:cxn ang="0">
                  <a:pos x="951" y="630"/>
                </a:cxn>
              </a:cxnLst>
              <a:rect l="0" t="0" r="r" b="b"/>
              <a:pathLst>
                <a:path w="2984" h="2713">
                  <a:moveTo>
                    <a:pt x="1137" y="566"/>
                  </a:moveTo>
                  <a:lnTo>
                    <a:pt x="1167" y="536"/>
                  </a:lnTo>
                  <a:lnTo>
                    <a:pt x="1188" y="507"/>
                  </a:lnTo>
                  <a:lnTo>
                    <a:pt x="1199" y="474"/>
                  </a:lnTo>
                  <a:lnTo>
                    <a:pt x="1199" y="431"/>
                  </a:lnTo>
                  <a:lnTo>
                    <a:pt x="1185" y="383"/>
                  </a:lnTo>
                  <a:lnTo>
                    <a:pt x="1174" y="343"/>
                  </a:lnTo>
                  <a:lnTo>
                    <a:pt x="1158" y="293"/>
                  </a:lnTo>
                  <a:lnTo>
                    <a:pt x="1151" y="239"/>
                  </a:lnTo>
                  <a:lnTo>
                    <a:pt x="1158" y="206"/>
                  </a:lnTo>
                  <a:lnTo>
                    <a:pt x="1169" y="165"/>
                  </a:lnTo>
                  <a:lnTo>
                    <a:pt x="1192" y="123"/>
                  </a:lnTo>
                  <a:lnTo>
                    <a:pt x="1225" y="82"/>
                  </a:lnTo>
                  <a:lnTo>
                    <a:pt x="1267" y="50"/>
                  </a:lnTo>
                  <a:lnTo>
                    <a:pt x="1304" y="25"/>
                  </a:lnTo>
                  <a:lnTo>
                    <a:pt x="1355" y="9"/>
                  </a:lnTo>
                  <a:lnTo>
                    <a:pt x="1416" y="1"/>
                  </a:lnTo>
                  <a:lnTo>
                    <a:pt x="1481" y="0"/>
                  </a:lnTo>
                  <a:lnTo>
                    <a:pt x="1569" y="0"/>
                  </a:lnTo>
                  <a:lnTo>
                    <a:pt x="1639" y="5"/>
                  </a:lnTo>
                  <a:lnTo>
                    <a:pt x="1678" y="17"/>
                  </a:lnTo>
                  <a:lnTo>
                    <a:pt x="1708" y="32"/>
                  </a:lnTo>
                  <a:lnTo>
                    <a:pt x="1741" y="50"/>
                  </a:lnTo>
                  <a:lnTo>
                    <a:pt x="1773" y="77"/>
                  </a:lnTo>
                  <a:lnTo>
                    <a:pt x="1804" y="111"/>
                  </a:lnTo>
                  <a:lnTo>
                    <a:pt x="1827" y="142"/>
                  </a:lnTo>
                  <a:lnTo>
                    <a:pt x="1839" y="169"/>
                  </a:lnTo>
                  <a:lnTo>
                    <a:pt x="1848" y="216"/>
                  </a:lnTo>
                  <a:lnTo>
                    <a:pt x="1848" y="256"/>
                  </a:lnTo>
                  <a:lnTo>
                    <a:pt x="1841" y="297"/>
                  </a:lnTo>
                  <a:lnTo>
                    <a:pt x="1832" y="327"/>
                  </a:lnTo>
                  <a:lnTo>
                    <a:pt x="1820" y="377"/>
                  </a:lnTo>
                  <a:lnTo>
                    <a:pt x="1804" y="430"/>
                  </a:lnTo>
                  <a:lnTo>
                    <a:pt x="1797" y="462"/>
                  </a:lnTo>
                  <a:lnTo>
                    <a:pt x="1808" y="495"/>
                  </a:lnTo>
                  <a:lnTo>
                    <a:pt x="1822" y="518"/>
                  </a:lnTo>
                  <a:lnTo>
                    <a:pt x="1848" y="549"/>
                  </a:lnTo>
                  <a:lnTo>
                    <a:pt x="1885" y="574"/>
                  </a:lnTo>
                  <a:lnTo>
                    <a:pt x="1920" y="595"/>
                  </a:lnTo>
                  <a:lnTo>
                    <a:pt x="1971" y="613"/>
                  </a:lnTo>
                  <a:lnTo>
                    <a:pt x="2022" y="624"/>
                  </a:lnTo>
                  <a:lnTo>
                    <a:pt x="2071" y="634"/>
                  </a:lnTo>
                  <a:lnTo>
                    <a:pt x="2122" y="640"/>
                  </a:lnTo>
                  <a:lnTo>
                    <a:pt x="2176" y="651"/>
                  </a:lnTo>
                  <a:lnTo>
                    <a:pt x="2217" y="663"/>
                  </a:lnTo>
                  <a:lnTo>
                    <a:pt x="2250" y="676"/>
                  </a:lnTo>
                  <a:lnTo>
                    <a:pt x="2276" y="692"/>
                  </a:lnTo>
                  <a:lnTo>
                    <a:pt x="2294" y="709"/>
                  </a:lnTo>
                  <a:lnTo>
                    <a:pt x="2308" y="730"/>
                  </a:lnTo>
                  <a:lnTo>
                    <a:pt x="2320" y="755"/>
                  </a:lnTo>
                  <a:lnTo>
                    <a:pt x="2324" y="779"/>
                  </a:lnTo>
                  <a:lnTo>
                    <a:pt x="2329" y="800"/>
                  </a:lnTo>
                  <a:lnTo>
                    <a:pt x="2329" y="829"/>
                  </a:lnTo>
                  <a:lnTo>
                    <a:pt x="2324" y="861"/>
                  </a:lnTo>
                  <a:lnTo>
                    <a:pt x="2324" y="887"/>
                  </a:lnTo>
                  <a:lnTo>
                    <a:pt x="2331" y="917"/>
                  </a:lnTo>
                  <a:lnTo>
                    <a:pt x="2348" y="944"/>
                  </a:lnTo>
                  <a:lnTo>
                    <a:pt x="2366" y="968"/>
                  </a:lnTo>
                  <a:lnTo>
                    <a:pt x="2389" y="985"/>
                  </a:lnTo>
                  <a:lnTo>
                    <a:pt x="2420" y="1004"/>
                  </a:lnTo>
                  <a:lnTo>
                    <a:pt x="2450" y="1016"/>
                  </a:lnTo>
                  <a:lnTo>
                    <a:pt x="2496" y="1023"/>
                  </a:lnTo>
                  <a:lnTo>
                    <a:pt x="2536" y="1027"/>
                  </a:lnTo>
                  <a:lnTo>
                    <a:pt x="2573" y="1029"/>
                  </a:lnTo>
                  <a:lnTo>
                    <a:pt x="2615" y="1027"/>
                  </a:lnTo>
                  <a:lnTo>
                    <a:pt x="2666" y="1023"/>
                  </a:lnTo>
                  <a:lnTo>
                    <a:pt x="2706" y="1022"/>
                  </a:lnTo>
                  <a:lnTo>
                    <a:pt x="2745" y="1018"/>
                  </a:lnTo>
                  <a:lnTo>
                    <a:pt x="2782" y="1016"/>
                  </a:lnTo>
                  <a:lnTo>
                    <a:pt x="2826" y="1018"/>
                  </a:lnTo>
                  <a:lnTo>
                    <a:pt x="2850" y="1022"/>
                  </a:lnTo>
                  <a:lnTo>
                    <a:pt x="2878" y="1027"/>
                  </a:lnTo>
                  <a:lnTo>
                    <a:pt x="2903" y="1039"/>
                  </a:lnTo>
                  <a:lnTo>
                    <a:pt x="2931" y="1056"/>
                  </a:lnTo>
                  <a:lnTo>
                    <a:pt x="2952" y="1076"/>
                  </a:lnTo>
                  <a:lnTo>
                    <a:pt x="2968" y="1104"/>
                  </a:lnTo>
                  <a:lnTo>
                    <a:pt x="2975" y="1130"/>
                  </a:lnTo>
                  <a:lnTo>
                    <a:pt x="2980" y="1160"/>
                  </a:lnTo>
                  <a:lnTo>
                    <a:pt x="2984" y="1216"/>
                  </a:lnTo>
                  <a:lnTo>
                    <a:pt x="2982" y="1282"/>
                  </a:lnTo>
                  <a:lnTo>
                    <a:pt x="2984" y="1351"/>
                  </a:lnTo>
                  <a:lnTo>
                    <a:pt x="2978" y="1432"/>
                  </a:lnTo>
                  <a:lnTo>
                    <a:pt x="2971" y="1488"/>
                  </a:lnTo>
                  <a:lnTo>
                    <a:pt x="2964" y="1532"/>
                  </a:lnTo>
                  <a:lnTo>
                    <a:pt x="2952" y="1558"/>
                  </a:lnTo>
                  <a:lnTo>
                    <a:pt x="2933" y="1581"/>
                  </a:lnTo>
                  <a:lnTo>
                    <a:pt x="2912" y="1596"/>
                  </a:lnTo>
                  <a:lnTo>
                    <a:pt x="2885" y="1610"/>
                  </a:lnTo>
                  <a:lnTo>
                    <a:pt x="2852" y="1617"/>
                  </a:lnTo>
                  <a:lnTo>
                    <a:pt x="2824" y="1623"/>
                  </a:lnTo>
                  <a:lnTo>
                    <a:pt x="2766" y="1625"/>
                  </a:lnTo>
                  <a:lnTo>
                    <a:pt x="2715" y="1623"/>
                  </a:lnTo>
                  <a:lnTo>
                    <a:pt x="2673" y="1617"/>
                  </a:lnTo>
                  <a:lnTo>
                    <a:pt x="2636" y="1615"/>
                  </a:lnTo>
                  <a:lnTo>
                    <a:pt x="2594" y="1613"/>
                  </a:lnTo>
                  <a:lnTo>
                    <a:pt x="2557" y="1613"/>
                  </a:lnTo>
                  <a:lnTo>
                    <a:pt x="2524" y="1615"/>
                  </a:lnTo>
                  <a:lnTo>
                    <a:pt x="2489" y="1617"/>
                  </a:lnTo>
                  <a:lnTo>
                    <a:pt x="2448" y="1627"/>
                  </a:lnTo>
                  <a:lnTo>
                    <a:pt x="2424" y="1635"/>
                  </a:lnTo>
                  <a:lnTo>
                    <a:pt x="2403" y="1642"/>
                  </a:lnTo>
                  <a:lnTo>
                    <a:pt x="2375" y="1658"/>
                  </a:lnTo>
                  <a:lnTo>
                    <a:pt x="2357" y="1677"/>
                  </a:lnTo>
                  <a:lnTo>
                    <a:pt x="2343" y="1694"/>
                  </a:lnTo>
                  <a:lnTo>
                    <a:pt x="2329" y="1716"/>
                  </a:lnTo>
                  <a:lnTo>
                    <a:pt x="2322" y="1737"/>
                  </a:lnTo>
                  <a:lnTo>
                    <a:pt x="2320" y="1760"/>
                  </a:lnTo>
                  <a:lnTo>
                    <a:pt x="2322" y="1785"/>
                  </a:lnTo>
                  <a:lnTo>
                    <a:pt x="2322" y="1828"/>
                  </a:lnTo>
                  <a:lnTo>
                    <a:pt x="2320" y="1872"/>
                  </a:lnTo>
                  <a:lnTo>
                    <a:pt x="2306" y="1905"/>
                  </a:lnTo>
                  <a:lnTo>
                    <a:pt x="2292" y="1932"/>
                  </a:lnTo>
                  <a:lnTo>
                    <a:pt x="2271" y="1951"/>
                  </a:lnTo>
                  <a:lnTo>
                    <a:pt x="2241" y="1966"/>
                  </a:lnTo>
                  <a:lnTo>
                    <a:pt x="2210" y="1980"/>
                  </a:lnTo>
                  <a:lnTo>
                    <a:pt x="2176" y="1988"/>
                  </a:lnTo>
                  <a:lnTo>
                    <a:pt x="2131" y="1995"/>
                  </a:lnTo>
                  <a:lnTo>
                    <a:pt x="2094" y="2005"/>
                  </a:lnTo>
                  <a:lnTo>
                    <a:pt x="2050" y="2011"/>
                  </a:lnTo>
                  <a:lnTo>
                    <a:pt x="2013" y="2016"/>
                  </a:lnTo>
                  <a:lnTo>
                    <a:pt x="1971" y="2024"/>
                  </a:lnTo>
                  <a:lnTo>
                    <a:pt x="1939" y="2038"/>
                  </a:lnTo>
                  <a:lnTo>
                    <a:pt x="1901" y="2051"/>
                  </a:lnTo>
                  <a:lnTo>
                    <a:pt x="1866" y="2069"/>
                  </a:lnTo>
                  <a:lnTo>
                    <a:pt x="1841" y="2092"/>
                  </a:lnTo>
                  <a:lnTo>
                    <a:pt x="1818" y="2119"/>
                  </a:lnTo>
                  <a:lnTo>
                    <a:pt x="1799" y="2151"/>
                  </a:lnTo>
                  <a:lnTo>
                    <a:pt x="1794" y="2180"/>
                  </a:lnTo>
                  <a:lnTo>
                    <a:pt x="1797" y="2213"/>
                  </a:lnTo>
                  <a:lnTo>
                    <a:pt x="1804" y="2244"/>
                  </a:lnTo>
                  <a:lnTo>
                    <a:pt x="1815" y="2277"/>
                  </a:lnTo>
                  <a:lnTo>
                    <a:pt x="1825" y="2313"/>
                  </a:lnTo>
                  <a:lnTo>
                    <a:pt x="1832" y="2346"/>
                  </a:lnTo>
                  <a:lnTo>
                    <a:pt x="1841" y="2389"/>
                  </a:lnTo>
                  <a:lnTo>
                    <a:pt x="1841" y="2431"/>
                  </a:lnTo>
                  <a:lnTo>
                    <a:pt x="1829" y="2473"/>
                  </a:lnTo>
                  <a:lnTo>
                    <a:pt x="1818" y="2506"/>
                  </a:lnTo>
                  <a:lnTo>
                    <a:pt x="1804" y="2539"/>
                  </a:lnTo>
                  <a:lnTo>
                    <a:pt x="1785" y="2570"/>
                  </a:lnTo>
                  <a:lnTo>
                    <a:pt x="1760" y="2608"/>
                  </a:lnTo>
                  <a:lnTo>
                    <a:pt x="1732" y="2634"/>
                  </a:lnTo>
                  <a:lnTo>
                    <a:pt x="1708" y="2651"/>
                  </a:lnTo>
                  <a:lnTo>
                    <a:pt x="1678" y="2672"/>
                  </a:lnTo>
                  <a:lnTo>
                    <a:pt x="1646" y="2691"/>
                  </a:lnTo>
                  <a:lnTo>
                    <a:pt x="1615" y="2701"/>
                  </a:lnTo>
                  <a:lnTo>
                    <a:pt x="1588" y="2707"/>
                  </a:lnTo>
                  <a:lnTo>
                    <a:pt x="1541" y="2711"/>
                  </a:lnTo>
                  <a:lnTo>
                    <a:pt x="1488" y="2713"/>
                  </a:lnTo>
                  <a:lnTo>
                    <a:pt x="1423" y="2711"/>
                  </a:lnTo>
                  <a:lnTo>
                    <a:pt x="1392" y="2711"/>
                  </a:lnTo>
                  <a:lnTo>
                    <a:pt x="1353" y="2705"/>
                  </a:lnTo>
                  <a:lnTo>
                    <a:pt x="1311" y="2695"/>
                  </a:lnTo>
                  <a:lnTo>
                    <a:pt x="1274" y="2678"/>
                  </a:lnTo>
                  <a:lnTo>
                    <a:pt x="1251" y="2662"/>
                  </a:lnTo>
                  <a:lnTo>
                    <a:pt x="1225" y="2641"/>
                  </a:lnTo>
                  <a:lnTo>
                    <a:pt x="1204" y="2622"/>
                  </a:lnTo>
                  <a:lnTo>
                    <a:pt x="1183" y="2597"/>
                  </a:lnTo>
                  <a:lnTo>
                    <a:pt x="1167" y="2572"/>
                  </a:lnTo>
                  <a:lnTo>
                    <a:pt x="1153" y="2541"/>
                  </a:lnTo>
                  <a:lnTo>
                    <a:pt x="1146" y="2508"/>
                  </a:lnTo>
                  <a:lnTo>
                    <a:pt x="1144" y="2483"/>
                  </a:lnTo>
                  <a:lnTo>
                    <a:pt x="1144" y="2448"/>
                  </a:lnTo>
                  <a:lnTo>
                    <a:pt x="1146" y="2419"/>
                  </a:lnTo>
                  <a:lnTo>
                    <a:pt x="1158" y="2389"/>
                  </a:lnTo>
                  <a:lnTo>
                    <a:pt x="1167" y="2352"/>
                  </a:lnTo>
                  <a:lnTo>
                    <a:pt x="1178" y="2317"/>
                  </a:lnTo>
                  <a:lnTo>
                    <a:pt x="1185" y="2286"/>
                  </a:lnTo>
                  <a:lnTo>
                    <a:pt x="1188" y="2258"/>
                  </a:lnTo>
                  <a:lnTo>
                    <a:pt x="1185" y="2234"/>
                  </a:lnTo>
                  <a:lnTo>
                    <a:pt x="1178" y="2211"/>
                  </a:lnTo>
                  <a:lnTo>
                    <a:pt x="1160" y="2182"/>
                  </a:lnTo>
                  <a:lnTo>
                    <a:pt x="1141" y="2163"/>
                  </a:lnTo>
                  <a:lnTo>
                    <a:pt x="1118" y="2142"/>
                  </a:lnTo>
                  <a:lnTo>
                    <a:pt x="1092" y="2126"/>
                  </a:lnTo>
                  <a:lnTo>
                    <a:pt x="1067" y="2111"/>
                  </a:lnTo>
                  <a:lnTo>
                    <a:pt x="1030" y="2099"/>
                  </a:lnTo>
                  <a:lnTo>
                    <a:pt x="997" y="2092"/>
                  </a:lnTo>
                  <a:lnTo>
                    <a:pt x="955" y="2084"/>
                  </a:lnTo>
                  <a:lnTo>
                    <a:pt x="918" y="2080"/>
                  </a:lnTo>
                  <a:lnTo>
                    <a:pt x="883" y="2072"/>
                  </a:lnTo>
                  <a:lnTo>
                    <a:pt x="841" y="2065"/>
                  </a:lnTo>
                  <a:lnTo>
                    <a:pt x="807" y="2053"/>
                  </a:lnTo>
                  <a:lnTo>
                    <a:pt x="765" y="2043"/>
                  </a:lnTo>
                  <a:lnTo>
                    <a:pt x="732" y="2032"/>
                  </a:lnTo>
                  <a:lnTo>
                    <a:pt x="707" y="2015"/>
                  </a:lnTo>
                  <a:lnTo>
                    <a:pt x="686" y="1991"/>
                  </a:lnTo>
                  <a:lnTo>
                    <a:pt x="672" y="1962"/>
                  </a:lnTo>
                  <a:lnTo>
                    <a:pt x="660" y="1924"/>
                  </a:lnTo>
                  <a:lnTo>
                    <a:pt x="658" y="1893"/>
                  </a:lnTo>
                  <a:lnTo>
                    <a:pt x="660" y="1858"/>
                  </a:lnTo>
                  <a:lnTo>
                    <a:pt x="665" y="1831"/>
                  </a:lnTo>
                  <a:lnTo>
                    <a:pt x="660" y="1799"/>
                  </a:lnTo>
                  <a:lnTo>
                    <a:pt x="649" y="1774"/>
                  </a:lnTo>
                  <a:lnTo>
                    <a:pt x="628" y="1747"/>
                  </a:lnTo>
                  <a:lnTo>
                    <a:pt x="607" y="1729"/>
                  </a:lnTo>
                  <a:lnTo>
                    <a:pt x="581" y="1712"/>
                  </a:lnTo>
                  <a:lnTo>
                    <a:pt x="546" y="1700"/>
                  </a:lnTo>
                  <a:lnTo>
                    <a:pt x="507" y="1689"/>
                  </a:lnTo>
                  <a:lnTo>
                    <a:pt x="465" y="1685"/>
                  </a:lnTo>
                  <a:lnTo>
                    <a:pt x="430" y="1681"/>
                  </a:lnTo>
                  <a:lnTo>
                    <a:pt x="391" y="1681"/>
                  </a:lnTo>
                  <a:lnTo>
                    <a:pt x="356" y="1685"/>
                  </a:lnTo>
                  <a:lnTo>
                    <a:pt x="321" y="1687"/>
                  </a:lnTo>
                  <a:lnTo>
                    <a:pt x="286" y="1691"/>
                  </a:lnTo>
                  <a:lnTo>
                    <a:pt x="251" y="1694"/>
                  </a:lnTo>
                  <a:lnTo>
                    <a:pt x="193" y="1694"/>
                  </a:lnTo>
                  <a:lnTo>
                    <a:pt x="156" y="1693"/>
                  </a:lnTo>
                  <a:lnTo>
                    <a:pt x="116" y="1685"/>
                  </a:lnTo>
                  <a:lnTo>
                    <a:pt x="88" y="1673"/>
                  </a:lnTo>
                  <a:lnTo>
                    <a:pt x="58" y="1654"/>
                  </a:lnTo>
                  <a:lnTo>
                    <a:pt x="37" y="1633"/>
                  </a:lnTo>
                  <a:lnTo>
                    <a:pt x="23" y="1610"/>
                  </a:lnTo>
                  <a:lnTo>
                    <a:pt x="7" y="1565"/>
                  </a:lnTo>
                  <a:lnTo>
                    <a:pt x="5" y="1519"/>
                  </a:lnTo>
                  <a:lnTo>
                    <a:pt x="2" y="1473"/>
                  </a:lnTo>
                  <a:lnTo>
                    <a:pt x="0" y="1415"/>
                  </a:lnTo>
                  <a:lnTo>
                    <a:pt x="5" y="1365"/>
                  </a:lnTo>
                  <a:lnTo>
                    <a:pt x="7" y="1311"/>
                  </a:lnTo>
                  <a:lnTo>
                    <a:pt x="9" y="1263"/>
                  </a:lnTo>
                  <a:lnTo>
                    <a:pt x="14" y="1212"/>
                  </a:lnTo>
                  <a:lnTo>
                    <a:pt x="21" y="1174"/>
                  </a:lnTo>
                  <a:lnTo>
                    <a:pt x="28" y="1131"/>
                  </a:lnTo>
                  <a:lnTo>
                    <a:pt x="37" y="1099"/>
                  </a:lnTo>
                  <a:lnTo>
                    <a:pt x="51" y="1077"/>
                  </a:lnTo>
                  <a:lnTo>
                    <a:pt x="72" y="1056"/>
                  </a:lnTo>
                  <a:lnTo>
                    <a:pt x="93" y="1043"/>
                  </a:lnTo>
                  <a:lnTo>
                    <a:pt x="121" y="1027"/>
                  </a:lnTo>
                  <a:lnTo>
                    <a:pt x="146" y="1023"/>
                  </a:lnTo>
                  <a:lnTo>
                    <a:pt x="179" y="1018"/>
                  </a:lnTo>
                  <a:lnTo>
                    <a:pt x="221" y="1016"/>
                  </a:lnTo>
                  <a:lnTo>
                    <a:pt x="258" y="1018"/>
                  </a:lnTo>
                  <a:lnTo>
                    <a:pt x="309" y="1023"/>
                  </a:lnTo>
                  <a:lnTo>
                    <a:pt x="353" y="1025"/>
                  </a:lnTo>
                  <a:lnTo>
                    <a:pt x="391" y="1027"/>
                  </a:lnTo>
                  <a:lnTo>
                    <a:pt x="442" y="1029"/>
                  </a:lnTo>
                  <a:lnTo>
                    <a:pt x="495" y="1023"/>
                  </a:lnTo>
                  <a:lnTo>
                    <a:pt x="539" y="1016"/>
                  </a:lnTo>
                  <a:lnTo>
                    <a:pt x="581" y="1002"/>
                  </a:lnTo>
                  <a:lnTo>
                    <a:pt x="609" y="989"/>
                  </a:lnTo>
                  <a:lnTo>
                    <a:pt x="637" y="968"/>
                  </a:lnTo>
                  <a:lnTo>
                    <a:pt x="658" y="941"/>
                  </a:lnTo>
                  <a:lnTo>
                    <a:pt x="672" y="914"/>
                  </a:lnTo>
                  <a:lnTo>
                    <a:pt x="676" y="885"/>
                  </a:lnTo>
                  <a:lnTo>
                    <a:pt x="674" y="863"/>
                  </a:lnTo>
                  <a:lnTo>
                    <a:pt x="672" y="823"/>
                  </a:lnTo>
                  <a:lnTo>
                    <a:pt x="674" y="782"/>
                  </a:lnTo>
                  <a:lnTo>
                    <a:pt x="683" y="752"/>
                  </a:lnTo>
                  <a:lnTo>
                    <a:pt x="695" y="723"/>
                  </a:lnTo>
                  <a:lnTo>
                    <a:pt x="711" y="701"/>
                  </a:lnTo>
                  <a:lnTo>
                    <a:pt x="744" y="680"/>
                  </a:lnTo>
                  <a:lnTo>
                    <a:pt x="779" y="665"/>
                  </a:lnTo>
                  <a:lnTo>
                    <a:pt x="823" y="653"/>
                  </a:lnTo>
                  <a:lnTo>
                    <a:pt x="867" y="644"/>
                  </a:lnTo>
                  <a:lnTo>
                    <a:pt x="904" y="636"/>
                  </a:lnTo>
                  <a:lnTo>
                    <a:pt x="951" y="630"/>
                  </a:lnTo>
                  <a:lnTo>
                    <a:pt x="995" y="622"/>
                  </a:lnTo>
                  <a:lnTo>
                    <a:pt x="1046" y="611"/>
                  </a:lnTo>
                  <a:lnTo>
                    <a:pt x="1095" y="593"/>
                  </a:lnTo>
                  <a:lnTo>
                    <a:pt x="1137" y="566"/>
                  </a:lnTo>
                  <a:close/>
                </a:path>
              </a:pathLst>
            </a:custGeom>
            <a:solidFill>
              <a:srgbClr val="FFFF00"/>
            </a:solidFill>
            <a:ln w="30163">
              <a:solidFill>
                <a:srgbClr val="000000"/>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2295" name="Text Box 7"/>
            <p:cNvSpPr txBox="1">
              <a:spLocks noChangeArrowheads="1"/>
            </p:cNvSpPr>
            <p:nvPr/>
          </p:nvSpPr>
          <p:spPr bwMode="auto">
            <a:xfrm>
              <a:off x="2514600" y="3657600"/>
              <a:ext cx="4033838" cy="701675"/>
            </a:xfrm>
            <a:prstGeom prst="rect">
              <a:avLst/>
            </a:prstGeom>
            <a:noFill/>
            <a:ln w="9525">
              <a:noFill/>
              <a:miter lim="800000"/>
              <a:headEnd/>
              <a:tailEnd/>
            </a:ln>
            <a:effectLst/>
          </p:spPr>
          <p:txBody>
            <a:bodyPr wrap="none">
              <a:spAutoFit/>
            </a:bodyPr>
            <a:lstStyle/>
            <a:p>
              <a:pPr eaLnBrk="0" fontAlgn="base" hangingPunct="0">
                <a:spcBef>
                  <a:spcPct val="0"/>
                </a:spcBef>
                <a:spcAft>
                  <a:spcPct val="0"/>
                </a:spcAft>
              </a:pPr>
              <a:r>
                <a:rPr lang="en-GB" sz="4000" dirty="0">
                  <a:solidFill>
                    <a:prstClr val="black"/>
                  </a:solidFill>
                  <a:effectLst>
                    <a:outerShdw blurRad="38100" dist="38100" dir="2700000" algn="tl">
                      <a:srgbClr val="C0C0C0"/>
                    </a:outerShdw>
                  </a:effectLst>
                  <a:latin typeface="Comic Sans MS" pitchFamily="66" charset="0"/>
                </a:rPr>
                <a:t>Service delivery</a:t>
              </a:r>
              <a:endParaRPr lang="en-GB" sz="3200" dirty="0">
                <a:solidFill>
                  <a:prstClr val="black"/>
                </a:solidFill>
                <a:effectLst>
                  <a:outerShdw blurRad="38100" dist="38100" dir="2700000" algn="tl">
                    <a:srgbClr val="C0C0C0"/>
                  </a:outerShdw>
                </a:effectLst>
                <a:latin typeface="Comic Sans MS" pitchFamily="66" charset="0"/>
              </a:endParaRPr>
            </a:p>
          </p:txBody>
        </p:sp>
        <p:sp>
          <p:nvSpPr>
            <p:cNvPr id="12296" name="Text Box 8"/>
            <p:cNvSpPr txBox="1">
              <a:spLocks noChangeArrowheads="1"/>
            </p:cNvSpPr>
            <p:nvPr/>
          </p:nvSpPr>
          <p:spPr bwMode="auto">
            <a:xfrm>
              <a:off x="304800" y="1600200"/>
              <a:ext cx="3919538" cy="1190625"/>
            </a:xfrm>
            <a:prstGeom prst="rect">
              <a:avLst/>
            </a:prstGeom>
            <a:noFill/>
            <a:ln w="9525">
              <a:noFill/>
              <a:miter lim="800000"/>
              <a:headEnd/>
              <a:tailEnd/>
            </a:ln>
            <a:effectLst/>
          </p:spPr>
          <p:txBody>
            <a:bodyPr wrap="none">
              <a:spAutoFit/>
            </a:bodyPr>
            <a:lstStyle/>
            <a:p>
              <a:pPr eaLnBrk="0" fontAlgn="base" hangingPunct="0">
                <a:spcBef>
                  <a:spcPct val="0"/>
                </a:spcBef>
                <a:spcAft>
                  <a:spcPct val="0"/>
                </a:spcAft>
              </a:pPr>
              <a:r>
                <a:rPr lang="en-GB" sz="3600">
                  <a:solidFill>
                    <a:prstClr val="white"/>
                  </a:solidFill>
                  <a:effectLst>
                    <a:outerShdw blurRad="38100" dist="38100" dir="2700000" algn="tl">
                      <a:srgbClr val="C0C0C0"/>
                    </a:outerShdw>
                  </a:effectLst>
                  <a:latin typeface="Comic Sans MS" pitchFamily="66" charset="0"/>
                </a:rPr>
                <a:t>Vaccine Supply &amp; </a:t>
              </a:r>
            </a:p>
            <a:p>
              <a:pPr eaLnBrk="0" fontAlgn="base" hangingPunct="0">
                <a:spcBef>
                  <a:spcPct val="0"/>
                </a:spcBef>
                <a:spcAft>
                  <a:spcPct val="0"/>
                </a:spcAft>
              </a:pPr>
              <a:r>
                <a:rPr lang="en-GB" sz="3600">
                  <a:solidFill>
                    <a:prstClr val="white"/>
                  </a:solidFill>
                  <a:effectLst>
                    <a:outerShdw blurRad="38100" dist="38100" dir="2700000" algn="tl">
                      <a:srgbClr val="C0C0C0"/>
                    </a:outerShdw>
                  </a:effectLst>
                  <a:latin typeface="Comic Sans MS" pitchFamily="66" charset="0"/>
                </a:rPr>
                <a:t>Quality</a:t>
              </a:r>
              <a:endParaRPr lang="en-GB" sz="3200">
                <a:solidFill>
                  <a:prstClr val="white"/>
                </a:solidFill>
                <a:effectLst>
                  <a:outerShdw blurRad="38100" dist="38100" dir="2700000" algn="tl">
                    <a:srgbClr val="C0C0C0"/>
                  </a:outerShdw>
                </a:effectLst>
                <a:latin typeface="Comic Sans MS" pitchFamily="66" charset="0"/>
              </a:endParaRPr>
            </a:p>
          </p:txBody>
        </p:sp>
        <p:sp>
          <p:nvSpPr>
            <p:cNvPr id="12297" name="Text Box 9"/>
            <p:cNvSpPr txBox="1">
              <a:spLocks noChangeArrowheads="1"/>
            </p:cNvSpPr>
            <p:nvPr/>
          </p:nvSpPr>
          <p:spPr bwMode="auto">
            <a:xfrm>
              <a:off x="5715000" y="1703388"/>
              <a:ext cx="2071688" cy="641350"/>
            </a:xfrm>
            <a:prstGeom prst="rect">
              <a:avLst/>
            </a:prstGeom>
            <a:noFill/>
            <a:ln w="9525">
              <a:noFill/>
              <a:miter lim="800000"/>
              <a:headEnd/>
              <a:tailEnd/>
            </a:ln>
            <a:effectLst/>
          </p:spPr>
          <p:txBody>
            <a:bodyPr wrap="none">
              <a:spAutoFit/>
            </a:bodyPr>
            <a:lstStyle/>
            <a:p>
              <a:pPr eaLnBrk="0" fontAlgn="base" hangingPunct="0">
                <a:spcBef>
                  <a:spcPct val="0"/>
                </a:spcBef>
                <a:spcAft>
                  <a:spcPct val="0"/>
                </a:spcAft>
              </a:pPr>
              <a:r>
                <a:rPr lang="en-GB" sz="3600">
                  <a:solidFill>
                    <a:prstClr val="white"/>
                  </a:solidFill>
                  <a:effectLst>
                    <a:outerShdw blurRad="38100" dist="38100" dir="2700000" algn="tl">
                      <a:srgbClr val="C0C0C0"/>
                    </a:outerShdw>
                  </a:effectLst>
                  <a:latin typeface="Comic Sans MS" pitchFamily="66" charset="0"/>
                </a:rPr>
                <a:t>Logistics</a:t>
              </a:r>
              <a:endParaRPr lang="en-GB" sz="3200">
                <a:solidFill>
                  <a:prstClr val="white"/>
                </a:solidFill>
                <a:effectLst>
                  <a:outerShdw blurRad="38100" dist="38100" dir="2700000" algn="tl">
                    <a:srgbClr val="C0C0C0"/>
                  </a:outerShdw>
                </a:effectLst>
                <a:latin typeface="Comic Sans MS" pitchFamily="66" charset="0"/>
              </a:endParaRPr>
            </a:p>
          </p:txBody>
        </p:sp>
        <p:sp>
          <p:nvSpPr>
            <p:cNvPr id="12298" name="Text Box 10"/>
            <p:cNvSpPr txBox="1">
              <a:spLocks noChangeArrowheads="1"/>
            </p:cNvSpPr>
            <p:nvPr/>
          </p:nvSpPr>
          <p:spPr bwMode="auto">
            <a:xfrm>
              <a:off x="5334000" y="5530850"/>
              <a:ext cx="3309938" cy="1190625"/>
            </a:xfrm>
            <a:prstGeom prst="rect">
              <a:avLst/>
            </a:prstGeom>
            <a:noFill/>
            <a:ln w="9525">
              <a:noFill/>
              <a:miter lim="800000"/>
              <a:headEnd/>
              <a:tailEnd/>
            </a:ln>
            <a:effectLst/>
          </p:spPr>
          <p:txBody>
            <a:bodyPr wrap="none">
              <a:spAutoFit/>
            </a:bodyPr>
            <a:lstStyle/>
            <a:p>
              <a:pPr eaLnBrk="0" fontAlgn="base" hangingPunct="0">
                <a:spcBef>
                  <a:spcPct val="0"/>
                </a:spcBef>
                <a:spcAft>
                  <a:spcPct val="0"/>
                </a:spcAft>
              </a:pPr>
              <a:r>
                <a:rPr lang="en-GB" sz="3600" dirty="0">
                  <a:solidFill>
                    <a:prstClr val="white"/>
                  </a:solidFill>
                  <a:effectLst>
                    <a:outerShdw blurRad="38100" dist="38100" dir="2700000" algn="tl">
                      <a:srgbClr val="C0C0C0"/>
                    </a:outerShdw>
                  </a:effectLst>
                  <a:latin typeface="Comic Sans MS" pitchFamily="66" charset="0"/>
                </a:rPr>
                <a:t>Advocacy &amp;</a:t>
              </a:r>
            </a:p>
            <a:p>
              <a:pPr eaLnBrk="0" fontAlgn="base" hangingPunct="0">
                <a:spcBef>
                  <a:spcPct val="0"/>
                </a:spcBef>
                <a:spcAft>
                  <a:spcPct val="0"/>
                </a:spcAft>
              </a:pPr>
              <a:r>
                <a:rPr lang="en-GB" sz="3600" dirty="0">
                  <a:solidFill>
                    <a:prstClr val="white"/>
                  </a:solidFill>
                  <a:effectLst>
                    <a:outerShdw blurRad="38100" dist="38100" dir="2700000" algn="tl">
                      <a:srgbClr val="C0C0C0"/>
                    </a:outerShdw>
                  </a:effectLst>
                  <a:latin typeface="Comic Sans MS" pitchFamily="66" charset="0"/>
                </a:rPr>
                <a:t>Communication</a:t>
              </a:r>
              <a:endParaRPr lang="en-GB" sz="3200" dirty="0">
                <a:solidFill>
                  <a:prstClr val="white"/>
                </a:solidFill>
                <a:effectLst>
                  <a:outerShdw blurRad="38100" dist="38100" dir="2700000" algn="tl">
                    <a:srgbClr val="C0C0C0"/>
                  </a:outerShdw>
                </a:effectLst>
                <a:latin typeface="Comic Sans MS" pitchFamily="66" charset="0"/>
              </a:endParaRPr>
            </a:p>
          </p:txBody>
        </p:sp>
        <p:sp>
          <p:nvSpPr>
            <p:cNvPr id="12299" name="Text Box 11"/>
            <p:cNvSpPr txBox="1">
              <a:spLocks noChangeArrowheads="1"/>
            </p:cNvSpPr>
            <p:nvPr/>
          </p:nvSpPr>
          <p:spPr bwMode="auto">
            <a:xfrm>
              <a:off x="381000" y="5638800"/>
              <a:ext cx="3209925" cy="701675"/>
            </a:xfrm>
            <a:prstGeom prst="rect">
              <a:avLst/>
            </a:prstGeom>
            <a:noFill/>
            <a:ln w="9525">
              <a:noFill/>
              <a:miter lim="800000"/>
              <a:headEnd/>
              <a:tailEnd/>
            </a:ln>
            <a:effectLst/>
          </p:spPr>
          <p:txBody>
            <a:bodyPr wrap="none">
              <a:spAutoFit/>
            </a:bodyPr>
            <a:lstStyle/>
            <a:p>
              <a:pPr eaLnBrk="0" fontAlgn="base" hangingPunct="0">
                <a:spcBef>
                  <a:spcPct val="0"/>
                </a:spcBef>
                <a:spcAft>
                  <a:spcPct val="0"/>
                </a:spcAft>
              </a:pPr>
              <a:r>
                <a:rPr lang="en-GB" sz="4000">
                  <a:solidFill>
                    <a:prstClr val="white"/>
                  </a:solidFill>
                  <a:effectLst>
                    <a:outerShdw blurRad="38100" dist="38100" dir="2700000" algn="tl">
                      <a:srgbClr val="C0C0C0"/>
                    </a:outerShdw>
                  </a:effectLst>
                  <a:latin typeface="Comic Sans MS" pitchFamily="66" charset="0"/>
                </a:rPr>
                <a:t>Surveillance </a:t>
              </a:r>
              <a:endParaRPr lang="en-GB" sz="3200">
                <a:solidFill>
                  <a:prstClr val="white"/>
                </a:solidFill>
                <a:effectLst>
                  <a:outerShdw blurRad="38100" dist="38100" dir="2700000" algn="tl">
                    <a:srgbClr val="C0C0C0"/>
                  </a:outerShdw>
                </a:effectLst>
                <a:latin typeface="Comic Sans MS" pitchFamily="66" charset="0"/>
              </a:endParaRPr>
            </a:p>
          </p:txBody>
        </p:sp>
      </p:grpSp>
      <p:sp>
        <p:nvSpPr>
          <p:cNvPr id="13" name="Rectangle 2"/>
          <p:cNvSpPr>
            <a:spLocks noGrp="1" noChangeArrowheads="1"/>
          </p:cNvSpPr>
          <p:nvPr>
            <p:ph type="title"/>
          </p:nvPr>
        </p:nvSpPr>
        <p:spPr>
          <a:xfrm>
            <a:off x="228600" y="152400"/>
            <a:ext cx="8915400" cy="838200"/>
          </a:xfrm>
        </p:spPr>
        <p:txBody>
          <a:bodyPr>
            <a:normAutofit/>
          </a:bodyPr>
          <a:lstStyle/>
          <a:p>
            <a:r>
              <a:rPr lang="en-US" sz="3300" b="1" dirty="0" smtClean="0">
                <a:solidFill>
                  <a:schemeClr val="accent6">
                    <a:lumMod val="50000"/>
                  </a:schemeClr>
                </a:solidFill>
              </a:rPr>
              <a:t>What is the Routine Immunization System?</a:t>
            </a:r>
            <a:endParaRPr lang="en-US" sz="3800" b="1" dirty="0">
              <a:solidFill>
                <a:schemeClr val="accent6">
                  <a:lumMod val="50000"/>
                </a:schemeClr>
              </a:solidFill>
            </a:endParaRPr>
          </a:p>
        </p:txBody>
      </p:sp>
    </p:spTree>
    <p:extLst>
      <p:ext uri="{BB962C8B-B14F-4D97-AF65-F5344CB8AC3E}">
        <p14:creationId xmlns:p14="http://schemas.microsoft.com/office/powerpoint/2010/main" val="354041653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Freeform 2"/>
          <p:cNvSpPr>
            <a:spLocks/>
          </p:cNvSpPr>
          <p:nvPr/>
        </p:nvSpPr>
        <p:spPr bwMode="auto">
          <a:xfrm>
            <a:off x="112544" y="1091406"/>
            <a:ext cx="8903726" cy="5063948"/>
          </a:xfrm>
          <a:custGeom>
            <a:avLst/>
            <a:gdLst>
              <a:gd name="T0" fmla="*/ 2984 w 5983"/>
              <a:gd name="T1" fmla="*/ 0 h 3373"/>
              <a:gd name="T2" fmla="*/ 0 w 5983"/>
              <a:gd name="T3" fmla="*/ 3373 h 3373"/>
              <a:gd name="T4" fmla="*/ 5983 w 5983"/>
              <a:gd name="T5" fmla="*/ 3373 h 3373"/>
              <a:gd name="T6" fmla="*/ 2984 w 5983"/>
              <a:gd name="T7" fmla="*/ 0 h 3373"/>
              <a:gd name="T8" fmla="*/ 0 60000 65536"/>
              <a:gd name="T9" fmla="*/ 0 60000 65536"/>
              <a:gd name="T10" fmla="*/ 0 60000 65536"/>
              <a:gd name="T11" fmla="*/ 0 60000 65536"/>
              <a:gd name="T12" fmla="*/ 0 w 5983"/>
              <a:gd name="T13" fmla="*/ 0 h 3373"/>
              <a:gd name="T14" fmla="*/ 5983 w 5983"/>
              <a:gd name="T15" fmla="*/ 3373 h 3373"/>
            </a:gdLst>
            <a:ahLst/>
            <a:cxnLst>
              <a:cxn ang="T8">
                <a:pos x="T0" y="T1"/>
              </a:cxn>
              <a:cxn ang="T9">
                <a:pos x="T2" y="T3"/>
              </a:cxn>
              <a:cxn ang="T10">
                <a:pos x="T4" y="T5"/>
              </a:cxn>
              <a:cxn ang="T11">
                <a:pos x="T6" y="T7"/>
              </a:cxn>
            </a:cxnLst>
            <a:rect l="T12" t="T13" r="T14" b="T15"/>
            <a:pathLst>
              <a:path w="5983" h="3373">
                <a:moveTo>
                  <a:pt x="2984" y="0"/>
                </a:moveTo>
                <a:lnTo>
                  <a:pt x="0" y="3373"/>
                </a:lnTo>
                <a:lnTo>
                  <a:pt x="5983" y="3373"/>
                </a:lnTo>
                <a:lnTo>
                  <a:pt x="2984" y="0"/>
                </a:lnTo>
                <a:close/>
              </a:path>
            </a:pathLst>
          </a:custGeom>
          <a:solidFill>
            <a:srgbClr val="FFFF00"/>
          </a:solidFill>
          <a:ln w="22225">
            <a:solidFill>
              <a:srgbClr val="000000"/>
            </a:solidFill>
            <a:prstDash val="solid"/>
            <a:round/>
            <a:headEnd/>
            <a:tailEnd/>
          </a:ln>
        </p:spPr>
        <p:txBody>
          <a:bodyPr lIns="80147" tIns="40074" rIns="80147" bIns="40074"/>
          <a:lstStyle/>
          <a:p>
            <a:pPr fontAlgn="base">
              <a:spcBef>
                <a:spcPct val="0"/>
              </a:spcBef>
              <a:spcAft>
                <a:spcPct val="0"/>
              </a:spcAft>
            </a:pPr>
            <a:endParaRPr lang="en-US" b="1" dirty="0">
              <a:solidFill>
                <a:prstClr val="black"/>
              </a:solidFill>
              <a:latin typeface="Arial" charset="0"/>
            </a:endParaRPr>
          </a:p>
        </p:txBody>
      </p:sp>
      <p:sp>
        <p:nvSpPr>
          <p:cNvPr id="13315" name="Rectangle 3"/>
          <p:cNvSpPr>
            <a:spLocks noChangeArrowheads="1"/>
          </p:cNvSpPr>
          <p:nvPr/>
        </p:nvSpPr>
        <p:spPr bwMode="auto">
          <a:xfrm>
            <a:off x="3573260" y="4277791"/>
            <a:ext cx="283713" cy="371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7" tIns="40074" rIns="80147" bIns="40074"/>
          <a:lstStyle/>
          <a:p>
            <a:pPr fontAlgn="base">
              <a:spcBef>
                <a:spcPct val="0"/>
              </a:spcBef>
              <a:spcAft>
                <a:spcPct val="0"/>
              </a:spcAft>
            </a:pPr>
            <a:endParaRPr lang="en-US">
              <a:solidFill>
                <a:prstClr val="black"/>
              </a:solidFill>
              <a:latin typeface="Arial" charset="0"/>
            </a:endParaRPr>
          </a:p>
        </p:txBody>
      </p:sp>
      <p:sp>
        <p:nvSpPr>
          <p:cNvPr id="13316" name="Rectangle 4"/>
          <p:cNvSpPr>
            <a:spLocks noChangeArrowheads="1"/>
          </p:cNvSpPr>
          <p:nvPr/>
        </p:nvSpPr>
        <p:spPr bwMode="auto">
          <a:xfrm>
            <a:off x="3683215" y="4338265"/>
            <a:ext cx="54502"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1900">
                <a:solidFill>
                  <a:srgbClr val="000000"/>
                </a:solidFill>
                <a:latin typeface="Arial" charset="0"/>
              </a:rPr>
              <a:t> </a:t>
            </a:r>
            <a:endParaRPr lang="en-US" sz="2800">
              <a:solidFill>
                <a:prstClr val="black"/>
              </a:solidFill>
              <a:latin typeface="Times New Roman" pitchFamily="18" charset="0"/>
            </a:endParaRPr>
          </a:p>
        </p:txBody>
      </p:sp>
      <p:sp>
        <p:nvSpPr>
          <p:cNvPr id="13317" name="Rectangle 5"/>
          <p:cNvSpPr>
            <a:spLocks noChangeArrowheads="1"/>
          </p:cNvSpPr>
          <p:nvPr/>
        </p:nvSpPr>
        <p:spPr bwMode="auto">
          <a:xfrm>
            <a:off x="4241141" y="2666600"/>
            <a:ext cx="2040295" cy="470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7" tIns="40074" rIns="80147" bIns="40074"/>
          <a:lstStyle/>
          <a:p>
            <a:pPr fontAlgn="base">
              <a:spcBef>
                <a:spcPct val="0"/>
              </a:spcBef>
              <a:spcAft>
                <a:spcPct val="0"/>
              </a:spcAft>
            </a:pPr>
            <a:endParaRPr lang="en-US">
              <a:solidFill>
                <a:prstClr val="black"/>
              </a:solidFill>
              <a:latin typeface="Arial" charset="0"/>
            </a:endParaRPr>
          </a:p>
        </p:txBody>
      </p:sp>
      <p:grpSp>
        <p:nvGrpSpPr>
          <p:cNvPr id="13318" name="Group 6"/>
          <p:cNvGrpSpPr>
            <a:grpSpLocks/>
          </p:cNvGrpSpPr>
          <p:nvPr/>
        </p:nvGrpSpPr>
        <p:grpSpPr bwMode="auto">
          <a:xfrm>
            <a:off x="351954" y="1172037"/>
            <a:ext cx="8565713" cy="4970169"/>
            <a:chOff x="355" y="295"/>
            <a:chExt cx="5948" cy="3396"/>
          </a:xfrm>
        </p:grpSpPr>
        <p:sp>
          <p:nvSpPr>
            <p:cNvPr id="13320" name="Line 7"/>
            <p:cNvSpPr>
              <a:spLocks noChangeShapeType="1"/>
            </p:cNvSpPr>
            <p:nvPr/>
          </p:nvSpPr>
          <p:spPr bwMode="auto">
            <a:xfrm flipH="1">
              <a:off x="3221" y="295"/>
              <a:ext cx="56" cy="2007"/>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13321" name="Line 8"/>
            <p:cNvSpPr>
              <a:spLocks noChangeShapeType="1"/>
            </p:cNvSpPr>
            <p:nvPr/>
          </p:nvSpPr>
          <p:spPr bwMode="auto">
            <a:xfrm flipV="1">
              <a:off x="355" y="2302"/>
              <a:ext cx="2957" cy="1316"/>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13322" name="Line 9"/>
            <p:cNvSpPr>
              <a:spLocks noChangeShapeType="1"/>
            </p:cNvSpPr>
            <p:nvPr/>
          </p:nvSpPr>
          <p:spPr bwMode="auto">
            <a:xfrm>
              <a:off x="3000" y="2154"/>
              <a:ext cx="3303" cy="1514"/>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13323" name="Rectangle 10"/>
            <p:cNvSpPr>
              <a:spLocks noChangeArrowheads="1"/>
            </p:cNvSpPr>
            <p:nvPr/>
          </p:nvSpPr>
          <p:spPr bwMode="auto">
            <a:xfrm>
              <a:off x="2075" y="1612"/>
              <a:ext cx="2418" cy="1366"/>
            </a:xfrm>
            <a:prstGeom prst="rect">
              <a:avLst/>
            </a:prstGeom>
            <a:solidFill>
              <a:srgbClr val="00CC99"/>
            </a:solidFill>
            <a:ln w="22225">
              <a:solidFill>
                <a:srgbClr val="000000"/>
              </a:solidFill>
              <a:miter lim="800000"/>
              <a:headEnd/>
              <a:tailEnd/>
            </a:ln>
          </p:spPr>
          <p:txBody>
            <a:bodyPr/>
            <a:lstStyle/>
            <a:p>
              <a:pPr fontAlgn="base">
                <a:spcBef>
                  <a:spcPct val="0"/>
                </a:spcBef>
                <a:spcAft>
                  <a:spcPct val="0"/>
                </a:spcAft>
              </a:pPr>
              <a:endParaRPr lang="en-US" dirty="0">
                <a:solidFill>
                  <a:prstClr val="black"/>
                </a:solidFill>
                <a:latin typeface="Arial" charset="0"/>
              </a:endParaRPr>
            </a:p>
          </p:txBody>
        </p:sp>
        <p:sp>
          <p:nvSpPr>
            <p:cNvPr id="13324" name="Rectangle 11"/>
            <p:cNvSpPr>
              <a:spLocks noChangeArrowheads="1"/>
            </p:cNvSpPr>
            <p:nvPr/>
          </p:nvSpPr>
          <p:spPr bwMode="auto">
            <a:xfrm rot="18480000">
              <a:off x="1040" y="2508"/>
              <a:ext cx="872"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800">
                  <a:solidFill>
                    <a:srgbClr val="000000"/>
                  </a:solidFill>
                  <a:latin typeface="Arial Narrow" pitchFamily="34" charset="0"/>
                </a:rPr>
                <a:t>Financing</a:t>
              </a:r>
              <a:endParaRPr lang="en-US" sz="2800">
                <a:solidFill>
                  <a:prstClr val="black"/>
                </a:solidFill>
                <a:latin typeface="Arial Narrow" pitchFamily="34" charset="0"/>
              </a:endParaRPr>
            </a:p>
          </p:txBody>
        </p:sp>
        <p:sp>
          <p:nvSpPr>
            <p:cNvPr id="13325" name="Rectangle 12"/>
            <p:cNvSpPr>
              <a:spLocks noChangeArrowheads="1"/>
            </p:cNvSpPr>
            <p:nvPr/>
          </p:nvSpPr>
          <p:spPr bwMode="auto">
            <a:xfrm>
              <a:off x="2569" y="3397"/>
              <a:ext cx="1557" cy="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14179" eaLnBrk="0" fontAlgn="base" hangingPunct="0">
                <a:spcBef>
                  <a:spcPct val="0"/>
                </a:spcBef>
                <a:spcAft>
                  <a:spcPct val="0"/>
                </a:spcAft>
              </a:pPr>
              <a:r>
                <a:rPr lang="en-US" sz="2800">
                  <a:solidFill>
                    <a:srgbClr val="000000"/>
                  </a:solidFill>
                  <a:latin typeface="Arial Narrow" pitchFamily="34" charset="0"/>
                </a:rPr>
                <a:t>Capacity building</a:t>
              </a:r>
              <a:endParaRPr lang="en-US" sz="2800">
                <a:solidFill>
                  <a:prstClr val="black"/>
                </a:solidFill>
                <a:latin typeface="Arial Narrow" pitchFamily="34" charset="0"/>
              </a:endParaRPr>
            </a:p>
          </p:txBody>
        </p:sp>
        <p:sp>
          <p:nvSpPr>
            <p:cNvPr id="13326" name="Rectangle 13"/>
            <p:cNvSpPr>
              <a:spLocks noChangeArrowheads="1"/>
            </p:cNvSpPr>
            <p:nvPr/>
          </p:nvSpPr>
          <p:spPr bwMode="auto">
            <a:xfrm rot="3060000">
              <a:off x="4340" y="2406"/>
              <a:ext cx="1229" cy="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800">
                  <a:solidFill>
                    <a:srgbClr val="000000"/>
                  </a:solidFill>
                  <a:latin typeface="Arial Narrow" pitchFamily="34" charset="0"/>
                </a:rPr>
                <a:t> Management</a:t>
              </a:r>
              <a:endParaRPr lang="en-US" sz="2800">
                <a:solidFill>
                  <a:prstClr val="black"/>
                </a:solidFill>
                <a:latin typeface="Arial Narrow" pitchFamily="34" charset="0"/>
              </a:endParaRPr>
            </a:p>
          </p:txBody>
        </p:sp>
        <p:grpSp>
          <p:nvGrpSpPr>
            <p:cNvPr id="13327" name="Group 14"/>
            <p:cNvGrpSpPr>
              <a:grpSpLocks/>
            </p:cNvGrpSpPr>
            <p:nvPr/>
          </p:nvGrpSpPr>
          <p:grpSpPr bwMode="auto">
            <a:xfrm>
              <a:off x="2130" y="1910"/>
              <a:ext cx="2060" cy="1053"/>
              <a:chOff x="2130" y="1910"/>
              <a:chExt cx="2060" cy="1053"/>
            </a:xfrm>
          </p:grpSpPr>
          <p:sp>
            <p:nvSpPr>
              <p:cNvPr id="13329" name="Rectangle 15"/>
              <p:cNvSpPr>
                <a:spLocks noChangeArrowheads="1"/>
              </p:cNvSpPr>
              <p:nvPr/>
            </p:nvSpPr>
            <p:spPr bwMode="auto">
              <a:xfrm>
                <a:off x="2130" y="1910"/>
                <a:ext cx="13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b="1" dirty="0">
                    <a:solidFill>
                      <a:srgbClr val="000000"/>
                    </a:solidFill>
                    <a:latin typeface="Arial Narrow" pitchFamily="34" charset="0"/>
                  </a:rPr>
                  <a:t>1.</a:t>
                </a:r>
                <a:endParaRPr lang="en-US" sz="2800" b="1" dirty="0">
                  <a:solidFill>
                    <a:prstClr val="black"/>
                  </a:solidFill>
                  <a:latin typeface="Times New Roman" pitchFamily="18" charset="0"/>
                </a:endParaRPr>
              </a:p>
            </p:txBody>
          </p:sp>
          <p:sp>
            <p:nvSpPr>
              <p:cNvPr id="13330" name="Rectangle 16"/>
              <p:cNvSpPr>
                <a:spLocks noChangeArrowheads="1"/>
              </p:cNvSpPr>
              <p:nvPr/>
            </p:nvSpPr>
            <p:spPr bwMode="auto">
              <a:xfrm>
                <a:off x="2267" y="1914"/>
                <a:ext cx="45"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a:solidFill>
                      <a:srgbClr val="000000"/>
                    </a:solidFill>
                    <a:latin typeface="Arial" charset="0"/>
                  </a:rPr>
                  <a:t> </a:t>
                </a:r>
                <a:endParaRPr lang="en-US" sz="2800">
                  <a:solidFill>
                    <a:prstClr val="black"/>
                  </a:solidFill>
                  <a:latin typeface="Times New Roman" pitchFamily="18" charset="0"/>
                </a:endParaRPr>
              </a:p>
            </p:txBody>
          </p:sp>
          <p:sp>
            <p:nvSpPr>
              <p:cNvPr id="13331" name="Rectangle 17"/>
              <p:cNvSpPr>
                <a:spLocks noChangeArrowheads="1"/>
              </p:cNvSpPr>
              <p:nvPr/>
            </p:nvSpPr>
            <p:spPr bwMode="auto">
              <a:xfrm>
                <a:off x="2311" y="1910"/>
                <a:ext cx="1879"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b="1" dirty="0">
                    <a:solidFill>
                      <a:srgbClr val="000000"/>
                    </a:solidFill>
                    <a:latin typeface="Arial Narrow" pitchFamily="34" charset="0"/>
                  </a:rPr>
                  <a:t>Vaccine supply &amp; quality</a:t>
                </a:r>
                <a:endParaRPr lang="en-US" sz="2800" b="1" dirty="0">
                  <a:solidFill>
                    <a:prstClr val="black"/>
                  </a:solidFill>
                  <a:latin typeface="Arial Narrow" pitchFamily="34" charset="0"/>
                </a:endParaRPr>
              </a:p>
            </p:txBody>
          </p:sp>
          <p:sp>
            <p:nvSpPr>
              <p:cNvPr id="13332" name="Rectangle 18"/>
              <p:cNvSpPr>
                <a:spLocks noChangeArrowheads="1"/>
              </p:cNvSpPr>
              <p:nvPr/>
            </p:nvSpPr>
            <p:spPr bwMode="auto">
              <a:xfrm>
                <a:off x="2130" y="2116"/>
                <a:ext cx="13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b="1" dirty="0">
                    <a:solidFill>
                      <a:srgbClr val="000000"/>
                    </a:solidFill>
                    <a:latin typeface="Arial Narrow" pitchFamily="34" charset="0"/>
                  </a:rPr>
                  <a:t>2.</a:t>
                </a:r>
                <a:endParaRPr lang="en-US" sz="2800" b="1" dirty="0">
                  <a:solidFill>
                    <a:prstClr val="black"/>
                  </a:solidFill>
                  <a:latin typeface="Times New Roman" pitchFamily="18" charset="0"/>
                </a:endParaRPr>
              </a:p>
            </p:txBody>
          </p:sp>
          <p:sp>
            <p:nvSpPr>
              <p:cNvPr id="13333" name="Rectangle 19"/>
              <p:cNvSpPr>
                <a:spLocks noChangeArrowheads="1"/>
              </p:cNvSpPr>
              <p:nvPr/>
            </p:nvSpPr>
            <p:spPr bwMode="auto">
              <a:xfrm>
                <a:off x="2267" y="2119"/>
                <a:ext cx="45"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a:solidFill>
                      <a:srgbClr val="000000"/>
                    </a:solidFill>
                    <a:latin typeface="Arial" charset="0"/>
                  </a:rPr>
                  <a:t> </a:t>
                </a:r>
                <a:endParaRPr lang="en-US" sz="2800">
                  <a:solidFill>
                    <a:prstClr val="black"/>
                  </a:solidFill>
                  <a:latin typeface="Times New Roman" pitchFamily="18" charset="0"/>
                </a:endParaRPr>
              </a:p>
            </p:txBody>
          </p:sp>
          <p:sp>
            <p:nvSpPr>
              <p:cNvPr id="13334" name="Rectangle 20"/>
              <p:cNvSpPr>
                <a:spLocks noChangeArrowheads="1"/>
              </p:cNvSpPr>
              <p:nvPr/>
            </p:nvSpPr>
            <p:spPr bwMode="auto">
              <a:xfrm>
                <a:off x="2311" y="2116"/>
                <a:ext cx="70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b="1" dirty="0">
                    <a:solidFill>
                      <a:srgbClr val="000000"/>
                    </a:solidFill>
                    <a:latin typeface="Arial Narrow" pitchFamily="34" charset="0"/>
                  </a:rPr>
                  <a:t>Logistics</a:t>
                </a:r>
                <a:endParaRPr lang="en-US" sz="2800" b="1" dirty="0">
                  <a:solidFill>
                    <a:prstClr val="black"/>
                  </a:solidFill>
                  <a:latin typeface="Arial Narrow" pitchFamily="34" charset="0"/>
                </a:endParaRPr>
              </a:p>
            </p:txBody>
          </p:sp>
          <p:sp>
            <p:nvSpPr>
              <p:cNvPr id="13335" name="Rectangle 21"/>
              <p:cNvSpPr>
                <a:spLocks noChangeArrowheads="1"/>
              </p:cNvSpPr>
              <p:nvPr/>
            </p:nvSpPr>
            <p:spPr bwMode="auto">
              <a:xfrm>
                <a:off x="2130" y="2320"/>
                <a:ext cx="13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b="1" dirty="0">
                    <a:solidFill>
                      <a:srgbClr val="000000"/>
                    </a:solidFill>
                    <a:latin typeface="Arial Narrow" pitchFamily="34" charset="0"/>
                  </a:rPr>
                  <a:t>3.</a:t>
                </a:r>
                <a:endParaRPr lang="en-US" sz="2800" b="1" dirty="0">
                  <a:solidFill>
                    <a:prstClr val="black"/>
                  </a:solidFill>
                  <a:latin typeface="Times New Roman" pitchFamily="18" charset="0"/>
                </a:endParaRPr>
              </a:p>
            </p:txBody>
          </p:sp>
          <p:sp>
            <p:nvSpPr>
              <p:cNvPr id="13336" name="Rectangle 22"/>
              <p:cNvSpPr>
                <a:spLocks noChangeArrowheads="1"/>
              </p:cNvSpPr>
              <p:nvPr/>
            </p:nvSpPr>
            <p:spPr bwMode="auto">
              <a:xfrm>
                <a:off x="2267" y="2326"/>
                <a:ext cx="45"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a:solidFill>
                      <a:srgbClr val="000000"/>
                    </a:solidFill>
                    <a:latin typeface="Arial" charset="0"/>
                  </a:rPr>
                  <a:t> </a:t>
                </a:r>
                <a:endParaRPr lang="en-US" sz="2800">
                  <a:solidFill>
                    <a:prstClr val="black"/>
                  </a:solidFill>
                  <a:latin typeface="Times New Roman" pitchFamily="18" charset="0"/>
                </a:endParaRPr>
              </a:p>
            </p:txBody>
          </p:sp>
          <p:sp>
            <p:nvSpPr>
              <p:cNvPr id="13337" name="Rectangle 23"/>
              <p:cNvSpPr>
                <a:spLocks noChangeArrowheads="1"/>
              </p:cNvSpPr>
              <p:nvPr/>
            </p:nvSpPr>
            <p:spPr bwMode="auto">
              <a:xfrm>
                <a:off x="2311" y="2320"/>
                <a:ext cx="1309"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b="1" dirty="0">
                    <a:solidFill>
                      <a:srgbClr val="000000"/>
                    </a:solidFill>
                    <a:latin typeface="Arial Narrow" pitchFamily="34" charset="0"/>
                  </a:rPr>
                  <a:t>Services delivery</a:t>
                </a:r>
                <a:endParaRPr lang="en-US" sz="2800" b="1" dirty="0">
                  <a:solidFill>
                    <a:prstClr val="black"/>
                  </a:solidFill>
                  <a:latin typeface="Arial Narrow" pitchFamily="34" charset="0"/>
                </a:endParaRPr>
              </a:p>
            </p:txBody>
          </p:sp>
          <p:sp>
            <p:nvSpPr>
              <p:cNvPr id="13338" name="Rectangle 24"/>
              <p:cNvSpPr>
                <a:spLocks noChangeArrowheads="1"/>
              </p:cNvSpPr>
              <p:nvPr/>
            </p:nvSpPr>
            <p:spPr bwMode="auto">
              <a:xfrm>
                <a:off x="2130" y="2532"/>
                <a:ext cx="147"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b="1" dirty="0">
                    <a:solidFill>
                      <a:srgbClr val="000000"/>
                    </a:solidFill>
                    <a:latin typeface="Times New Roman" pitchFamily="18" charset="0"/>
                  </a:rPr>
                  <a:t>4.</a:t>
                </a:r>
                <a:endParaRPr lang="en-US" sz="2800" b="1" dirty="0">
                  <a:solidFill>
                    <a:prstClr val="black"/>
                  </a:solidFill>
                  <a:latin typeface="Times New Roman" pitchFamily="18" charset="0"/>
                </a:endParaRPr>
              </a:p>
            </p:txBody>
          </p:sp>
          <p:sp>
            <p:nvSpPr>
              <p:cNvPr id="13339" name="Rectangle 25"/>
              <p:cNvSpPr>
                <a:spLocks noChangeArrowheads="1"/>
              </p:cNvSpPr>
              <p:nvPr/>
            </p:nvSpPr>
            <p:spPr bwMode="auto">
              <a:xfrm>
                <a:off x="2282" y="2532"/>
                <a:ext cx="45"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a:solidFill>
                      <a:srgbClr val="000000"/>
                    </a:solidFill>
                    <a:latin typeface="Arial" charset="0"/>
                  </a:rPr>
                  <a:t> </a:t>
                </a:r>
                <a:endParaRPr lang="en-US" sz="2800">
                  <a:solidFill>
                    <a:prstClr val="black"/>
                  </a:solidFill>
                  <a:latin typeface="Times New Roman" pitchFamily="18" charset="0"/>
                </a:endParaRPr>
              </a:p>
            </p:txBody>
          </p:sp>
          <p:sp>
            <p:nvSpPr>
              <p:cNvPr id="13340" name="Rectangle 26"/>
              <p:cNvSpPr>
                <a:spLocks noChangeArrowheads="1"/>
              </p:cNvSpPr>
              <p:nvPr/>
            </p:nvSpPr>
            <p:spPr bwMode="auto">
              <a:xfrm>
                <a:off x="2311" y="2525"/>
                <a:ext cx="94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b="1" dirty="0">
                    <a:solidFill>
                      <a:srgbClr val="000000"/>
                    </a:solidFill>
                    <a:latin typeface="Arial Narrow" pitchFamily="34" charset="0"/>
                  </a:rPr>
                  <a:t>Surveillance</a:t>
                </a:r>
                <a:endParaRPr lang="en-US" sz="2800" b="1" dirty="0">
                  <a:solidFill>
                    <a:prstClr val="black"/>
                  </a:solidFill>
                  <a:latin typeface="Arial Narrow" pitchFamily="34" charset="0"/>
                </a:endParaRPr>
              </a:p>
            </p:txBody>
          </p:sp>
          <p:sp>
            <p:nvSpPr>
              <p:cNvPr id="13341" name="Rectangle 27"/>
              <p:cNvSpPr>
                <a:spLocks noChangeArrowheads="1"/>
              </p:cNvSpPr>
              <p:nvPr/>
            </p:nvSpPr>
            <p:spPr bwMode="auto">
              <a:xfrm>
                <a:off x="2130" y="2732"/>
                <a:ext cx="147"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b="1" dirty="0">
                    <a:solidFill>
                      <a:srgbClr val="000000"/>
                    </a:solidFill>
                    <a:latin typeface="Times New Roman" pitchFamily="18" charset="0"/>
                  </a:rPr>
                  <a:t>5.</a:t>
                </a:r>
                <a:endParaRPr lang="en-US" sz="2800" b="1" dirty="0">
                  <a:solidFill>
                    <a:prstClr val="black"/>
                  </a:solidFill>
                  <a:latin typeface="Times New Roman" pitchFamily="18" charset="0"/>
                </a:endParaRPr>
              </a:p>
            </p:txBody>
          </p:sp>
          <p:sp>
            <p:nvSpPr>
              <p:cNvPr id="13342" name="Rectangle 28"/>
              <p:cNvSpPr>
                <a:spLocks noChangeArrowheads="1"/>
              </p:cNvSpPr>
              <p:nvPr/>
            </p:nvSpPr>
            <p:spPr bwMode="auto">
              <a:xfrm>
                <a:off x="2282" y="2732"/>
                <a:ext cx="45"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a:solidFill>
                      <a:srgbClr val="000000"/>
                    </a:solidFill>
                    <a:latin typeface="Arial" charset="0"/>
                  </a:rPr>
                  <a:t> </a:t>
                </a:r>
                <a:endParaRPr lang="en-US" sz="2800">
                  <a:solidFill>
                    <a:prstClr val="black"/>
                  </a:solidFill>
                  <a:latin typeface="Times New Roman" pitchFamily="18" charset="0"/>
                </a:endParaRPr>
              </a:p>
            </p:txBody>
          </p:sp>
          <p:sp>
            <p:nvSpPr>
              <p:cNvPr id="13343" name="Rectangle 29"/>
              <p:cNvSpPr>
                <a:spLocks noChangeArrowheads="1"/>
              </p:cNvSpPr>
              <p:nvPr/>
            </p:nvSpPr>
            <p:spPr bwMode="auto">
              <a:xfrm>
                <a:off x="2311" y="2730"/>
                <a:ext cx="1211"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200" b="1" dirty="0">
                    <a:solidFill>
                      <a:srgbClr val="000000"/>
                    </a:solidFill>
                    <a:latin typeface="Arial Narrow" pitchFamily="34" charset="0"/>
                  </a:rPr>
                  <a:t>Communication</a:t>
                </a:r>
                <a:endParaRPr lang="en-US" sz="2800" b="1" dirty="0">
                  <a:solidFill>
                    <a:prstClr val="black"/>
                  </a:solidFill>
                  <a:latin typeface="Times New Roman" pitchFamily="18" charset="0"/>
                </a:endParaRPr>
              </a:p>
            </p:txBody>
          </p:sp>
        </p:grpSp>
        <p:sp>
          <p:nvSpPr>
            <p:cNvPr id="13328" name="Rectangle 30"/>
            <p:cNvSpPr>
              <a:spLocks noChangeArrowheads="1"/>
            </p:cNvSpPr>
            <p:nvPr/>
          </p:nvSpPr>
          <p:spPr bwMode="auto">
            <a:xfrm>
              <a:off x="2627" y="1661"/>
              <a:ext cx="893" cy="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4179" eaLnBrk="0" fontAlgn="base" hangingPunct="0">
                <a:spcBef>
                  <a:spcPct val="0"/>
                </a:spcBef>
                <a:spcAft>
                  <a:spcPct val="0"/>
                </a:spcAft>
              </a:pPr>
              <a:r>
                <a:rPr lang="en-US" sz="2500">
                  <a:solidFill>
                    <a:srgbClr val="000000"/>
                  </a:solidFill>
                  <a:latin typeface="Arial Narrow" pitchFamily="34" charset="0"/>
                </a:rPr>
                <a:t>Operations</a:t>
              </a:r>
              <a:endParaRPr lang="en-US" sz="2800">
                <a:solidFill>
                  <a:prstClr val="black"/>
                </a:solidFill>
                <a:latin typeface="Arial Narrow" pitchFamily="34" charset="0"/>
              </a:endParaRPr>
            </a:p>
          </p:txBody>
        </p:sp>
      </p:grpSp>
      <p:sp>
        <p:nvSpPr>
          <p:cNvPr id="32" name="Rectangle 2"/>
          <p:cNvSpPr txBox="1">
            <a:spLocks noChangeArrowheads="1"/>
          </p:cNvSpPr>
          <p:nvPr/>
        </p:nvSpPr>
        <p:spPr>
          <a:xfrm>
            <a:off x="228600" y="152400"/>
            <a:ext cx="8915400" cy="8382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base">
              <a:spcAft>
                <a:spcPct val="0"/>
              </a:spcAft>
            </a:pPr>
            <a:r>
              <a:rPr lang="en-US" sz="3300" b="1" dirty="0" smtClean="0">
                <a:solidFill>
                  <a:srgbClr val="F79646">
                    <a:lumMod val="50000"/>
                  </a:srgbClr>
                </a:solidFill>
              </a:rPr>
              <a:t>What is the Routine Immunization System?</a:t>
            </a:r>
            <a:endParaRPr lang="en-US" sz="3800" b="1" dirty="0">
              <a:solidFill>
                <a:srgbClr val="F79646">
                  <a:lumMod val="50000"/>
                </a:srgbClr>
              </a:solidFill>
            </a:endParaRPr>
          </a:p>
        </p:txBody>
      </p:sp>
    </p:spTree>
    <p:extLst>
      <p:ext uri="{BB962C8B-B14F-4D97-AF65-F5344CB8AC3E}">
        <p14:creationId xmlns:p14="http://schemas.microsoft.com/office/powerpoint/2010/main" val="2877401097"/>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28600" y="1143001"/>
            <a:ext cx="8382000" cy="4875628"/>
            <a:chOff x="104774" y="1362547"/>
            <a:chExt cx="8582026" cy="5287491"/>
          </a:xfrm>
        </p:grpSpPr>
        <p:sp>
          <p:nvSpPr>
            <p:cNvPr id="5" name="Oval 4"/>
            <p:cNvSpPr/>
            <p:nvPr/>
          </p:nvSpPr>
          <p:spPr>
            <a:xfrm>
              <a:off x="2005312" y="1404938"/>
              <a:ext cx="3423675" cy="1262062"/>
            </a:xfrm>
            <a:prstGeom prst="ellipse">
              <a:avLst/>
            </a:prstGeom>
            <a:solidFill>
              <a:schemeClr val="bg1"/>
            </a:solidFill>
            <a:ln>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6" name="Oval 5"/>
            <p:cNvSpPr/>
            <p:nvPr/>
          </p:nvSpPr>
          <p:spPr>
            <a:xfrm>
              <a:off x="2895600" y="1541464"/>
              <a:ext cx="2501461" cy="1006305"/>
            </a:xfrm>
            <a:prstGeom prst="ellipse">
              <a:avLst/>
            </a:prstGeom>
            <a:solidFill>
              <a:schemeClr val="bg1"/>
            </a:solidFill>
            <a:ln>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solidFill>
                    <a:prstClr val="black">
                      <a:lumMod val="95000"/>
                      <a:lumOff val="5000"/>
                    </a:prstClr>
                  </a:solidFill>
                </a:rPr>
                <a:t>              </a:t>
              </a:r>
            </a:p>
          </p:txBody>
        </p:sp>
        <p:sp>
          <p:nvSpPr>
            <p:cNvPr id="7" name="Oval 6"/>
            <p:cNvSpPr/>
            <p:nvPr/>
          </p:nvSpPr>
          <p:spPr>
            <a:xfrm>
              <a:off x="3812431" y="1772001"/>
              <a:ext cx="1616556" cy="538861"/>
            </a:xfrm>
            <a:prstGeom prst="ellipse">
              <a:avLst/>
            </a:prstGeom>
            <a:solidFill>
              <a:srgbClr val="92D050"/>
            </a:solidFill>
            <a:ln>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prstClr val="black">
                      <a:lumMod val="95000"/>
                      <a:lumOff val="5000"/>
                    </a:prstClr>
                  </a:solidFill>
                </a:rPr>
                <a:t>Immunization System</a:t>
              </a:r>
            </a:p>
          </p:txBody>
        </p:sp>
        <p:sp>
          <p:nvSpPr>
            <p:cNvPr id="6150" name="TextBox 7"/>
            <p:cNvSpPr txBox="1">
              <a:spLocks noChangeArrowheads="1"/>
            </p:cNvSpPr>
            <p:nvPr/>
          </p:nvSpPr>
          <p:spPr bwMode="auto">
            <a:xfrm>
              <a:off x="3124200" y="1810694"/>
              <a:ext cx="66220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r>
                <a:rPr lang="en-US" sz="1200" dirty="0">
                  <a:solidFill>
                    <a:prstClr val="black"/>
                  </a:solidFill>
                  <a:latin typeface="Calibri" pitchFamily="34" charset="0"/>
                </a:rPr>
                <a:t>Health </a:t>
              </a:r>
              <a:r>
                <a:rPr lang="en-US" sz="1200" dirty="0" smtClean="0">
                  <a:solidFill>
                    <a:prstClr val="black"/>
                  </a:solidFill>
                  <a:latin typeface="Calibri" pitchFamily="34" charset="0"/>
                </a:rPr>
                <a:t>System</a:t>
              </a:r>
              <a:endParaRPr lang="en-US" sz="1200" dirty="0">
                <a:solidFill>
                  <a:prstClr val="black"/>
                </a:solidFill>
                <a:latin typeface="Calibri" pitchFamily="34" charset="0"/>
              </a:endParaRPr>
            </a:p>
          </p:txBody>
        </p:sp>
        <p:sp>
          <p:nvSpPr>
            <p:cNvPr id="6151" name="TextBox 8"/>
            <p:cNvSpPr txBox="1">
              <a:spLocks noChangeArrowheads="1"/>
            </p:cNvSpPr>
            <p:nvPr/>
          </p:nvSpPr>
          <p:spPr bwMode="auto">
            <a:xfrm>
              <a:off x="1987207" y="1800952"/>
              <a:ext cx="118603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r>
                <a:rPr lang="en-US" sz="1200" dirty="0">
                  <a:solidFill>
                    <a:prstClr val="black"/>
                  </a:solidFill>
                  <a:latin typeface="Calibri" pitchFamily="34" charset="0"/>
                </a:rPr>
                <a:t>External</a:t>
              </a:r>
            </a:p>
            <a:p>
              <a:pPr eaLnBrk="1" fontAlgn="base" hangingPunct="1">
                <a:spcBef>
                  <a:spcPct val="0"/>
                </a:spcBef>
                <a:spcAft>
                  <a:spcPct val="0"/>
                </a:spcAft>
              </a:pPr>
              <a:r>
                <a:rPr lang="en-US" sz="1200" dirty="0">
                  <a:solidFill>
                    <a:prstClr val="black"/>
                  </a:solidFill>
                  <a:latin typeface="Calibri" pitchFamily="34" charset="0"/>
                </a:rPr>
                <a:t>Environment</a:t>
              </a:r>
            </a:p>
          </p:txBody>
        </p:sp>
        <p:sp>
          <p:nvSpPr>
            <p:cNvPr id="10" name="TextBox 9"/>
            <p:cNvSpPr txBox="1"/>
            <p:nvPr/>
          </p:nvSpPr>
          <p:spPr>
            <a:xfrm>
              <a:off x="114299" y="1362547"/>
              <a:ext cx="1714499" cy="1348638"/>
            </a:xfrm>
            <a:prstGeom prst="rect">
              <a:avLst/>
            </a:prstGeom>
            <a:solidFill>
              <a:schemeClr val="bg1">
                <a:lumMod val="85000"/>
              </a:schemeClr>
            </a:solidFill>
          </p:spPr>
          <p:txBody>
            <a:bodyPr>
              <a:normAutofit/>
            </a:bodyPr>
            <a:lstStyle/>
            <a:p>
              <a:pPr algn="ctr">
                <a:defRPr/>
              </a:pPr>
              <a:r>
                <a:rPr lang="en-US" dirty="0">
                  <a:solidFill>
                    <a:prstClr val="black"/>
                  </a:solidFill>
                </a:rPr>
                <a:t>The Immunization System Environment</a:t>
              </a:r>
            </a:p>
          </p:txBody>
        </p:sp>
        <p:sp>
          <p:nvSpPr>
            <p:cNvPr id="19" name="Rectangle 18"/>
            <p:cNvSpPr/>
            <p:nvPr/>
          </p:nvSpPr>
          <p:spPr>
            <a:xfrm>
              <a:off x="3091034" y="3556000"/>
              <a:ext cx="2182642" cy="1216819"/>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prstClr val="black">
                      <a:lumMod val="95000"/>
                      <a:lumOff val="5000"/>
                    </a:prstClr>
                  </a:solidFill>
                </a:rPr>
                <a:t>Immunization Service Delivery</a:t>
              </a:r>
            </a:p>
          </p:txBody>
        </p:sp>
        <p:sp>
          <p:nvSpPr>
            <p:cNvPr id="20" name="Rectangle 19"/>
            <p:cNvSpPr/>
            <p:nvPr/>
          </p:nvSpPr>
          <p:spPr>
            <a:xfrm>
              <a:off x="3097215" y="4772819"/>
              <a:ext cx="1483874" cy="1086958"/>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prstClr val="black">
                      <a:lumMod val="95000"/>
                      <a:lumOff val="5000"/>
                    </a:prstClr>
                  </a:solidFill>
                </a:rPr>
                <a:t>Vaccine </a:t>
              </a:r>
              <a:r>
                <a:rPr lang="en-US" sz="1600" dirty="0" smtClean="0">
                  <a:solidFill>
                    <a:prstClr val="black">
                      <a:lumMod val="95000"/>
                      <a:lumOff val="5000"/>
                    </a:prstClr>
                  </a:solidFill>
                </a:rPr>
                <a:t>Supply &amp; Quality</a:t>
              </a:r>
              <a:endParaRPr lang="en-US" sz="1600" dirty="0">
                <a:solidFill>
                  <a:prstClr val="black">
                    <a:lumMod val="95000"/>
                    <a:lumOff val="5000"/>
                  </a:prstClr>
                </a:solidFill>
              </a:endParaRPr>
            </a:p>
          </p:txBody>
        </p:sp>
        <p:sp>
          <p:nvSpPr>
            <p:cNvPr id="21" name="Rectangle 20"/>
            <p:cNvSpPr/>
            <p:nvPr/>
          </p:nvSpPr>
          <p:spPr>
            <a:xfrm>
              <a:off x="5270586" y="3556000"/>
              <a:ext cx="2179551" cy="1216819"/>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smtClean="0">
                  <a:solidFill>
                    <a:prstClr val="black">
                      <a:lumMod val="95000"/>
                      <a:lumOff val="5000"/>
                    </a:prstClr>
                  </a:solidFill>
                </a:rPr>
                <a:t>Communications &amp; Community Links</a:t>
              </a:r>
              <a:endParaRPr lang="en-US" sz="1600" dirty="0">
                <a:solidFill>
                  <a:prstClr val="black">
                    <a:lumMod val="95000"/>
                    <a:lumOff val="5000"/>
                  </a:prstClr>
                </a:solidFill>
              </a:endParaRPr>
            </a:p>
          </p:txBody>
        </p:sp>
        <p:sp>
          <p:nvSpPr>
            <p:cNvPr id="22" name="Rectangle 21"/>
            <p:cNvSpPr/>
            <p:nvPr/>
          </p:nvSpPr>
          <p:spPr>
            <a:xfrm>
              <a:off x="3091035" y="2796439"/>
              <a:ext cx="4359102" cy="75956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smtClean="0">
                  <a:solidFill>
                    <a:prstClr val="black"/>
                  </a:solidFill>
                </a:rPr>
                <a:t>Planning &amp; Management</a:t>
              </a:r>
              <a:endParaRPr lang="en-US" sz="1600" dirty="0">
                <a:solidFill>
                  <a:prstClr val="black"/>
                </a:solidFill>
              </a:endParaRPr>
            </a:p>
          </p:txBody>
        </p:sp>
        <p:sp>
          <p:nvSpPr>
            <p:cNvPr id="23" name="Rectangle 22"/>
            <p:cNvSpPr/>
            <p:nvPr/>
          </p:nvSpPr>
          <p:spPr>
            <a:xfrm>
              <a:off x="6006305" y="4772819"/>
              <a:ext cx="1443831" cy="1086958"/>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smtClean="0">
                  <a:solidFill>
                    <a:prstClr val="black">
                      <a:lumMod val="95000"/>
                      <a:lumOff val="5000"/>
                    </a:prstClr>
                  </a:solidFill>
                </a:rPr>
                <a:t>Surveillance</a:t>
              </a:r>
              <a:endParaRPr lang="en-US" sz="1600" dirty="0">
                <a:solidFill>
                  <a:prstClr val="black">
                    <a:lumMod val="95000"/>
                    <a:lumOff val="5000"/>
                  </a:prstClr>
                </a:solidFill>
              </a:endParaRPr>
            </a:p>
          </p:txBody>
        </p:sp>
        <p:sp>
          <p:nvSpPr>
            <p:cNvPr id="24" name="Rectangle 23"/>
            <p:cNvSpPr/>
            <p:nvPr/>
          </p:nvSpPr>
          <p:spPr>
            <a:xfrm>
              <a:off x="3097214" y="5859777"/>
              <a:ext cx="4352924" cy="79026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prstClr val="black"/>
                  </a:solidFill>
                </a:rPr>
                <a:t>Monitoring </a:t>
              </a:r>
              <a:r>
                <a:rPr lang="en-US" sz="1600" dirty="0" smtClean="0">
                  <a:solidFill>
                    <a:prstClr val="black"/>
                  </a:solidFill>
                </a:rPr>
                <a:t>&amp; Using Data for Action (Response)</a:t>
              </a:r>
              <a:endParaRPr lang="en-US" sz="1600" dirty="0">
                <a:solidFill>
                  <a:prstClr val="black"/>
                </a:solidFill>
              </a:endParaRPr>
            </a:p>
          </p:txBody>
        </p:sp>
        <p:sp>
          <p:nvSpPr>
            <p:cNvPr id="25" name="Rectangle 24"/>
            <p:cNvSpPr/>
            <p:nvPr/>
          </p:nvSpPr>
          <p:spPr>
            <a:xfrm>
              <a:off x="7450137" y="2796439"/>
              <a:ext cx="1236663" cy="3853599"/>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smtClean="0">
                  <a:solidFill>
                    <a:prstClr val="black"/>
                  </a:solidFill>
                </a:rPr>
                <a:t>Human Resources </a:t>
              </a:r>
            </a:p>
            <a:p>
              <a:pPr algn="ctr">
                <a:defRPr/>
              </a:pPr>
              <a:r>
                <a:rPr lang="en-US" sz="1600" dirty="0" smtClean="0">
                  <a:solidFill>
                    <a:prstClr val="black"/>
                  </a:solidFill>
                </a:rPr>
                <a:t>&amp; </a:t>
              </a:r>
            </a:p>
            <a:p>
              <a:pPr algn="ctr">
                <a:defRPr/>
              </a:pPr>
              <a:r>
                <a:rPr lang="en-US" sz="1600" dirty="0" smtClean="0">
                  <a:solidFill>
                    <a:prstClr val="black"/>
                  </a:solidFill>
                </a:rPr>
                <a:t>Capacity </a:t>
              </a:r>
              <a:r>
                <a:rPr lang="en-US" sz="1600" dirty="0">
                  <a:solidFill>
                    <a:prstClr val="black"/>
                  </a:solidFill>
                </a:rPr>
                <a:t>Building</a:t>
              </a:r>
            </a:p>
          </p:txBody>
        </p:sp>
        <p:sp>
          <p:nvSpPr>
            <p:cNvPr id="27" name="Rectangle 26"/>
            <p:cNvSpPr/>
            <p:nvPr/>
          </p:nvSpPr>
          <p:spPr>
            <a:xfrm>
              <a:off x="1905000" y="2796439"/>
              <a:ext cx="1192213" cy="3853599"/>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prstClr val="black"/>
                  </a:solidFill>
                </a:rPr>
                <a:t>Finance</a:t>
              </a:r>
            </a:p>
          </p:txBody>
        </p:sp>
        <p:cxnSp>
          <p:nvCxnSpPr>
            <p:cNvPr id="32" name="Straight Connector 31"/>
            <p:cNvCxnSpPr/>
            <p:nvPr/>
          </p:nvCxnSpPr>
          <p:spPr>
            <a:xfrm>
              <a:off x="5206206" y="2050652"/>
              <a:ext cx="800100" cy="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006306" y="2059632"/>
              <a:ext cx="0" cy="607368"/>
            </a:xfrm>
            <a:prstGeom prst="line">
              <a:avLst/>
            </a:prstGeom>
            <a:ln w="34925">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04774" y="2796439"/>
              <a:ext cx="1724025" cy="3853599"/>
            </a:xfrm>
            <a:prstGeom prst="rect">
              <a:avLst/>
            </a:prstGeom>
            <a:solidFill>
              <a:schemeClr val="bg1">
                <a:lumMod val="85000"/>
              </a:schemeClr>
            </a:solidFill>
          </p:spPr>
          <p:txBody>
            <a:bodyPr>
              <a:normAutofit/>
            </a:bodyPr>
            <a:lstStyle/>
            <a:p>
              <a:pPr algn="ctr">
                <a:defRPr/>
              </a:pPr>
              <a:r>
                <a:rPr lang="en-US" dirty="0">
                  <a:solidFill>
                    <a:prstClr val="black"/>
                  </a:solidFill>
                </a:rPr>
                <a:t>The </a:t>
              </a:r>
              <a:r>
                <a:rPr lang="en-US" dirty="0" smtClean="0">
                  <a:solidFill>
                    <a:prstClr val="black"/>
                  </a:solidFill>
                </a:rPr>
                <a:t>Routine Immunization </a:t>
              </a:r>
              <a:r>
                <a:rPr lang="en-US" dirty="0">
                  <a:solidFill>
                    <a:prstClr val="black"/>
                  </a:solidFill>
                </a:rPr>
                <a:t>System</a:t>
              </a:r>
            </a:p>
          </p:txBody>
        </p:sp>
        <p:sp>
          <p:nvSpPr>
            <p:cNvPr id="26" name="Rectangle 25"/>
            <p:cNvSpPr/>
            <p:nvPr/>
          </p:nvSpPr>
          <p:spPr>
            <a:xfrm>
              <a:off x="4581089" y="4772819"/>
              <a:ext cx="1514911" cy="1086958"/>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smtClean="0">
                  <a:solidFill>
                    <a:prstClr val="black">
                      <a:lumMod val="95000"/>
                      <a:lumOff val="5000"/>
                    </a:prstClr>
                  </a:solidFill>
                </a:rPr>
                <a:t>Cold Chain &amp; Logistics</a:t>
              </a:r>
              <a:endParaRPr lang="en-US" sz="1600" dirty="0">
                <a:solidFill>
                  <a:prstClr val="black">
                    <a:lumMod val="95000"/>
                    <a:lumOff val="5000"/>
                  </a:prstClr>
                </a:solidFill>
              </a:endParaRPr>
            </a:p>
          </p:txBody>
        </p:sp>
      </p:grpSp>
      <p:sp>
        <p:nvSpPr>
          <p:cNvPr id="28" name="Rectangle 2"/>
          <p:cNvSpPr>
            <a:spLocks noGrp="1" noChangeArrowheads="1"/>
          </p:cNvSpPr>
          <p:nvPr>
            <p:ph type="title"/>
          </p:nvPr>
        </p:nvSpPr>
        <p:spPr>
          <a:xfrm>
            <a:off x="228600" y="152400"/>
            <a:ext cx="8915400" cy="838200"/>
          </a:xfrm>
        </p:spPr>
        <p:txBody>
          <a:bodyPr>
            <a:normAutofit/>
          </a:bodyPr>
          <a:lstStyle/>
          <a:p>
            <a:r>
              <a:rPr lang="en-US" sz="3300" b="1" dirty="0" smtClean="0">
                <a:solidFill>
                  <a:schemeClr val="accent6">
                    <a:lumMod val="50000"/>
                  </a:schemeClr>
                </a:solidFill>
              </a:rPr>
              <a:t>What is the Routine Immunization System?</a:t>
            </a:r>
            <a:endParaRPr lang="en-US" sz="3800" b="1" dirty="0">
              <a:solidFill>
                <a:schemeClr val="accent6">
                  <a:lumMod val="50000"/>
                </a:schemeClr>
              </a:solidFill>
            </a:endParaRPr>
          </a:p>
        </p:txBody>
      </p:sp>
    </p:spTree>
    <p:extLst>
      <p:ext uri="{BB962C8B-B14F-4D97-AF65-F5344CB8AC3E}">
        <p14:creationId xmlns:p14="http://schemas.microsoft.com/office/powerpoint/2010/main" val="2725435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06" name="think-cell Slide" r:id="rId571" imgW="360" imgH="360" progId="TCLayout.ActiveDocument.1">
                  <p:embed/>
                </p:oleObj>
              </mc:Choice>
              <mc:Fallback>
                <p:oleObj name="think-cell Slide" r:id="rId571" imgW="360" imgH="360" progId="TCLayout.ActiveDocument.1">
                  <p:embed/>
                  <p:pic>
                    <p:nvPicPr>
                      <p:cNvPr id="0" name=""/>
                      <p:cNvPicPr>
                        <a:picLocks noChangeAspect="1" noChangeArrowheads="1"/>
                      </p:cNvPicPr>
                      <p:nvPr/>
                    </p:nvPicPr>
                    <p:blipFill>
                      <a:blip r:embed="rId57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88"/>
          <p:cNvGrpSpPr/>
          <p:nvPr/>
        </p:nvGrpSpPr>
        <p:grpSpPr>
          <a:xfrm>
            <a:off x="0" y="-743849"/>
            <a:ext cx="9126743" cy="7601849"/>
            <a:chOff x="0" y="-743849"/>
            <a:chExt cx="9126743" cy="7601849"/>
          </a:xfrm>
        </p:grpSpPr>
        <p:sp>
          <p:nvSpPr>
            <p:cNvPr id="87" name="Rectangle 5"/>
            <p:cNvSpPr>
              <a:spLocks noChangeArrowheads="1"/>
            </p:cNvSpPr>
            <p:nvPr>
              <p:custDataLst>
                <p:tags r:id="rId491"/>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smtClean="0">
                <a:solidFill>
                  <a:srgbClr val="FFFFFF"/>
                </a:solidFill>
                <a:latin typeface="Gill Sans MT" pitchFamily="34" charset="0"/>
                <a:cs typeface="Arial" charset="0"/>
              </a:endParaRPr>
            </a:p>
          </p:txBody>
        </p:sp>
        <p:sp>
          <p:nvSpPr>
            <p:cNvPr id="26" name="Rounded Rectangle 25"/>
            <p:cNvSpPr/>
            <p:nvPr>
              <p:custDataLst>
                <p:tags r:id="rId492"/>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451" name="Rectangle 5"/>
            <p:cNvSpPr>
              <a:spLocks noChangeArrowheads="1"/>
            </p:cNvSpPr>
            <p:nvPr>
              <p:custDataLst>
                <p:tags r:id="rId493"/>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GLOBAL</a:t>
              </a:r>
            </a:p>
          </p:txBody>
        </p:sp>
        <p:sp>
          <p:nvSpPr>
            <p:cNvPr id="454" name="Rectangle 5"/>
            <p:cNvSpPr>
              <a:spLocks noChangeArrowheads="1"/>
            </p:cNvSpPr>
            <p:nvPr>
              <p:custDataLst>
                <p:tags r:id="rId494"/>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NATIONAL</a:t>
              </a:r>
            </a:p>
          </p:txBody>
        </p:sp>
        <p:sp>
          <p:nvSpPr>
            <p:cNvPr id="456" name="Rectangle 5"/>
            <p:cNvSpPr>
              <a:spLocks noChangeArrowheads="1"/>
            </p:cNvSpPr>
            <p:nvPr>
              <p:custDataLst>
                <p:tags r:id="rId495"/>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LOCAL</a:t>
              </a:r>
            </a:p>
          </p:txBody>
        </p:sp>
        <p:sp>
          <p:nvSpPr>
            <p:cNvPr id="746" name="Rectangle 5"/>
            <p:cNvSpPr>
              <a:spLocks noChangeArrowheads="1"/>
            </p:cNvSpPr>
            <p:nvPr>
              <p:custDataLst>
                <p:tags r:id="rId496"/>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POLITICAL COMMITMENT</a:t>
              </a:r>
            </a:p>
          </p:txBody>
        </p:sp>
        <p:sp>
          <p:nvSpPr>
            <p:cNvPr id="747" name="Rectangle 5"/>
            <p:cNvSpPr>
              <a:spLocks noChangeArrowheads="1"/>
            </p:cNvSpPr>
            <p:nvPr>
              <p:custDataLst>
                <p:tags r:id="rId497"/>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FINANCING &amp; PRICING</a:t>
              </a:r>
            </a:p>
          </p:txBody>
        </p:sp>
        <p:sp>
          <p:nvSpPr>
            <p:cNvPr id="7" name="Chord 6"/>
            <p:cNvSpPr/>
            <p:nvPr>
              <p:custDataLst>
                <p:tags r:id="rId498"/>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 name="Chord 4"/>
            <p:cNvSpPr/>
            <p:nvPr>
              <p:custDataLst>
                <p:tags r:id="rId499"/>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4" name="Chord 3"/>
            <p:cNvSpPr/>
            <p:nvPr>
              <p:custDataLst>
                <p:tags r:id="rId500"/>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 name="Chord 5"/>
            <p:cNvSpPr/>
            <p:nvPr>
              <p:custDataLst>
                <p:tags r:id="rId501"/>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43" name="Straight Connector 42"/>
            <p:cNvCxnSpPr/>
            <p:nvPr>
              <p:custDataLst>
                <p:tags r:id="rId502"/>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50" name="Straight Connector 49"/>
            <p:cNvCxnSpPr/>
            <p:nvPr>
              <p:custDataLst>
                <p:tags r:id="rId503"/>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59" name="Rectangle 5"/>
            <p:cNvSpPr>
              <a:spLocks noChangeArrowheads="1"/>
            </p:cNvSpPr>
            <p:nvPr>
              <p:custDataLst>
                <p:tags r:id="rId504"/>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63" name="Rectangle 5"/>
            <p:cNvSpPr>
              <a:spLocks noChangeArrowheads="1"/>
            </p:cNvSpPr>
            <p:nvPr>
              <p:custDataLst>
                <p:tags r:id="rId505"/>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64" name="Rectangle 5"/>
            <p:cNvSpPr>
              <a:spLocks noChangeArrowheads="1"/>
            </p:cNvSpPr>
            <p:nvPr>
              <p:custDataLst>
                <p:tags r:id="rId506"/>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89" name="Straight Connector 88"/>
            <p:cNvCxnSpPr/>
            <p:nvPr>
              <p:custDataLst>
                <p:tags r:id="rId507"/>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91" name="Rectangle 5"/>
            <p:cNvSpPr>
              <a:spLocks noChangeArrowheads="1"/>
            </p:cNvSpPr>
            <p:nvPr>
              <p:custDataLst>
                <p:tags r:id="rId508"/>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fficient supplies at health posts</a:t>
              </a:r>
              <a:endParaRPr lang="en-US" sz="900" dirty="0">
                <a:solidFill>
                  <a:srgbClr val="59452A"/>
                </a:solidFill>
                <a:latin typeface="Gill Sans MT" pitchFamily="34" charset="0"/>
                <a:cs typeface="Arial" charset="0"/>
              </a:endParaRPr>
            </a:p>
          </p:txBody>
        </p:sp>
        <p:sp>
          <p:nvSpPr>
            <p:cNvPr id="97" name="Rectangle 5"/>
            <p:cNvSpPr>
              <a:spLocks noChangeArrowheads="1"/>
            </p:cNvSpPr>
            <p:nvPr>
              <p:custDataLst>
                <p:tags r:id="rId509"/>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142" name="Straight Connector 141"/>
            <p:cNvCxnSpPr/>
            <p:nvPr>
              <p:custDataLst>
                <p:tags r:id="rId510"/>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146" name="Straight Connector 145"/>
            <p:cNvCxnSpPr/>
            <p:nvPr>
              <p:custDataLst>
                <p:tags r:id="rId511"/>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153" name="Rectangle 5"/>
            <p:cNvSpPr>
              <a:spLocks noChangeArrowheads="1"/>
            </p:cNvSpPr>
            <p:nvPr>
              <p:custDataLst>
                <p:tags r:id="rId512"/>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154" name="Rectangle 5"/>
            <p:cNvSpPr>
              <a:spLocks noChangeArrowheads="1"/>
            </p:cNvSpPr>
            <p:nvPr>
              <p:custDataLst>
                <p:tags r:id="rId513"/>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155" name="Picture 5"/>
            <p:cNvPicPr>
              <a:picLocks noChangeAspect="1" noChangeArrowheads="1"/>
            </p:cNvPicPr>
            <p:nvPr>
              <p:custDataLst>
                <p:tags r:id="rId514"/>
              </p:custDataLst>
            </p:nvPr>
          </p:nvPicPr>
          <p:blipFill>
            <a:blip r:embed="rId573"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274" name="Rectangle 5"/>
            <p:cNvSpPr>
              <a:spLocks noChangeArrowheads="1"/>
            </p:cNvSpPr>
            <p:nvPr>
              <p:custDataLst>
                <p:tags r:id="rId515"/>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276" name="Straight Connector 275"/>
            <p:cNvCxnSpPr/>
            <p:nvPr>
              <p:custDataLst>
                <p:tags r:id="rId516"/>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278" name="Rectangle 5"/>
            <p:cNvSpPr>
              <a:spLocks noChangeArrowheads="1"/>
            </p:cNvSpPr>
            <p:nvPr>
              <p:custDataLst>
                <p:tags r:id="rId517"/>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280" name="Rectangle 5"/>
            <p:cNvSpPr>
              <a:spLocks noChangeArrowheads="1"/>
            </p:cNvSpPr>
            <p:nvPr>
              <p:custDataLst>
                <p:tags r:id="rId518"/>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291" name="Rectangle 5"/>
            <p:cNvSpPr>
              <a:spLocks noChangeArrowheads="1"/>
            </p:cNvSpPr>
            <p:nvPr>
              <p:custDataLst>
                <p:tags r:id="rId519"/>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3" name="Group 927"/>
            <p:cNvGrpSpPr/>
            <p:nvPr>
              <p:custDataLst>
                <p:tags r:id="rId520"/>
              </p:custDataLst>
            </p:nvPr>
          </p:nvGrpSpPr>
          <p:grpSpPr>
            <a:xfrm>
              <a:off x="2375776" y="2430017"/>
              <a:ext cx="532015" cy="444343"/>
              <a:chOff x="5085316" y="2082799"/>
              <a:chExt cx="777013" cy="639762"/>
            </a:xfrm>
          </p:grpSpPr>
          <p:sp>
            <p:nvSpPr>
              <p:cNvPr id="293" name="Freeform 25"/>
              <p:cNvSpPr>
                <a:spLocks noChangeAspect="1"/>
              </p:cNvSpPr>
              <p:nvPr>
                <p:custDataLst>
                  <p:tags r:id="rId569"/>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294" name="Picture 3"/>
              <p:cNvPicPr>
                <a:picLocks noChangeAspect="1" noChangeArrowheads="1"/>
              </p:cNvPicPr>
              <p:nvPr/>
            </p:nvPicPr>
            <p:blipFill>
              <a:blip r:embed="rId574"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295" name="Picture 3"/>
              <p:cNvPicPr>
                <a:picLocks noChangeAspect="1" noChangeArrowheads="1"/>
              </p:cNvPicPr>
              <p:nvPr/>
            </p:nvPicPr>
            <p:blipFill>
              <a:blip r:embed="rId574"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296" name="Picture 3"/>
              <p:cNvPicPr>
                <a:picLocks noChangeAspect="1" noChangeArrowheads="1"/>
              </p:cNvPicPr>
              <p:nvPr/>
            </p:nvPicPr>
            <p:blipFill>
              <a:blip r:embed="rId574"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297" name="Rectangle 5"/>
            <p:cNvSpPr>
              <a:spLocks noChangeArrowheads="1"/>
            </p:cNvSpPr>
            <p:nvPr>
              <p:custDataLst>
                <p:tags r:id="rId521"/>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312" name="Rectangle 5"/>
            <p:cNvSpPr>
              <a:spLocks noChangeArrowheads="1"/>
            </p:cNvSpPr>
            <p:nvPr>
              <p:custDataLst>
                <p:tags r:id="rId522"/>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281" name="Rectangle 5"/>
            <p:cNvSpPr>
              <a:spLocks noChangeArrowheads="1"/>
            </p:cNvSpPr>
            <p:nvPr>
              <p:custDataLst>
                <p:tags r:id="rId523"/>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273" name="Rectangle 5"/>
            <p:cNvSpPr>
              <a:spLocks noChangeArrowheads="1"/>
            </p:cNvSpPr>
            <p:nvPr>
              <p:custDataLst>
                <p:tags r:id="rId524"/>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Data to guide national decision making</a:t>
              </a:r>
            </a:p>
          </p:txBody>
        </p:sp>
        <p:pic>
          <p:nvPicPr>
            <p:cNvPr id="420" name="Picture 21"/>
            <p:cNvPicPr>
              <a:picLocks noChangeAspect="1" noChangeArrowheads="1"/>
            </p:cNvPicPr>
            <p:nvPr>
              <p:custDataLst>
                <p:tags r:id="rId525"/>
              </p:custDataLst>
            </p:nvPr>
          </p:nvPicPr>
          <p:blipFill>
            <a:blip r:embed="rId575"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275" name="Rectangle 5"/>
            <p:cNvSpPr>
              <a:spLocks noChangeArrowheads="1"/>
            </p:cNvSpPr>
            <p:nvPr>
              <p:custDataLst>
                <p:tags r:id="rId526"/>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421" name="Picture 5"/>
            <p:cNvPicPr>
              <a:picLocks noChangeAspect="1" noChangeArrowheads="1"/>
            </p:cNvPicPr>
            <p:nvPr>
              <p:custDataLst>
                <p:tags r:id="rId527"/>
              </p:custDataLst>
            </p:nvPr>
          </p:nvPicPr>
          <p:blipFill>
            <a:blip r:embed="rId576"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409" name="Straight Connector 408"/>
            <p:cNvCxnSpPr/>
            <p:nvPr>
              <p:custDataLst>
                <p:tags r:id="rId528"/>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414" name="Rectangle 5"/>
            <p:cNvSpPr>
              <a:spLocks noChangeArrowheads="1"/>
            </p:cNvSpPr>
            <p:nvPr>
              <p:custDataLst>
                <p:tags r:id="rId529"/>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427" name="Rectangle 5"/>
            <p:cNvSpPr>
              <a:spLocks noChangeArrowheads="1"/>
            </p:cNvSpPr>
            <p:nvPr>
              <p:custDataLst>
                <p:tags r:id="rId530"/>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8" name="Group 435"/>
            <p:cNvGrpSpPr/>
            <p:nvPr>
              <p:custDataLst>
                <p:tags r:id="rId531"/>
              </p:custDataLst>
            </p:nvPr>
          </p:nvGrpSpPr>
          <p:grpSpPr>
            <a:xfrm>
              <a:off x="5851932" y="2523591"/>
              <a:ext cx="249647" cy="251917"/>
              <a:chOff x="7230319" y="326252"/>
              <a:chExt cx="506784" cy="510648"/>
            </a:xfrm>
          </p:grpSpPr>
          <p:pic>
            <p:nvPicPr>
              <p:cNvPr id="428" name="Picture 5"/>
              <p:cNvPicPr>
                <a:picLocks noChangeAspect="1" noChangeArrowheads="1"/>
              </p:cNvPicPr>
              <p:nvPr>
                <p:custDataLst>
                  <p:tags r:id="rId563"/>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429" name="Picture 17"/>
              <p:cNvPicPr>
                <a:picLocks noChangeAspect="1" noChangeArrowheads="1"/>
              </p:cNvPicPr>
              <p:nvPr>
                <p:custDataLst>
                  <p:tags r:id="rId564"/>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432" name="Picture 17"/>
              <p:cNvPicPr>
                <a:picLocks noChangeAspect="1" noChangeArrowheads="1"/>
              </p:cNvPicPr>
              <p:nvPr>
                <p:custDataLst>
                  <p:tags r:id="rId565"/>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433" name="Picture 5"/>
              <p:cNvPicPr>
                <a:picLocks noChangeAspect="1" noChangeArrowheads="1"/>
              </p:cNvPicPr>
              <p:nvPr>
                <p:custDataLst>
                  <p:tags r:id="rId566"/>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434" name="Picture 17"/>
              <p:cNvPicPr>
                <a:picLocks noChangeAspect="1" noChangeArrowheads="1"/>
              </p:cNvPicPr>
              <p:nvPr>
                <p:custDataLst>
                  <p:tags r:id="rId567"/>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435" name="Picture 5"/>
              <p:cNvPicPr>
                <a:picLocks noChangeAspect="1" noChangeArrowheads="1"/>
              </p:cNvPicPr>
              <p:nvPr>
                <p:custDataLst>
                  <p:tags r:id="rId568"/>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438" name="Rectangle 5"/>
            <p:cNvSpPr>
              <a:spLocks noChangeArrowheads="1"/>
            </p:cNvSpPr>
            <p:nvPr>
              <p:custDataLst>
                <p:tags r:id="rId532"/>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92167" name="Picture 7" descr="C:\Users\mattha\AppData\Local\Microsoft\Windows\Temporary Internet Files\Content.IE5\A0YJT0Y2\MC900368410[1].wmf"/>
            <p:cNvPicPr>
              <a:picLocks noChangeAspect="1" noChangeArrowheads="1"/>
            </p:cNvPicPr>
            <p:nvPr>
              <p:custDataLst>
                <p:tags r:id="rId533"/>
              </p:custDataLst>
            </p:nvPr>
          </p:nvPicPr>
          <p:blipFill>
            <a:blip r:embed="rId578"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92169" name="Picture 9" descr="C:\Users\mattha\AppData\Local\Microsoft\Windows\Temporary Internet Files\Content.IE5\WZUD8JML\MC900286861[1].wmf"/>
            <p:cNvPicPr>
              <a:picLocks noChangeAspect="1" noChangeArrowheads="1"/>
            </p:cNvPicPr>
            <p:nvPr>
              <p:custDataLst>
                <p:tags r:id="rId534"/>
              </p:custDataLst>
            </p:nvPr>
          </p:nvPicPr>
          <p:blipFill>
            <a:blip r:embed="rId579"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92175" name="Picture 15" descr="C:\Users\mattha\AppData\Local\Microsoft\Windows\Temporary Internet Files\Content.IE5\6RMOFZA8\MC900434820[1].png"/>
            <p:cNvPicPr>
              <a:picLocks noChangeAspect="1" noChangeArrowheads="1"/>
            </p:cNvPicPr>
            <p:nvPr>
              <p:custDataLst>
                <p:tags r:id="rId535"/>
              </p:custDataLst>
            </p:nvPr>
          </p:nvPicPr>
          <p:blipFill>
            <a:blip r:embed="rId580" cstate="print">
              <a:duotone>
                <a:schemeClr val="accent4">
                  <a:shade val="45000"/>
                  <a:satMod val="135000"/>
                </a:schemeClr>
                <a:prstClr val="white"/>
              </a:duotone>
              <a:extLst>
                <a:ext uri="{BEBA8EAE-BF5A-486C-A8C5-ECC9F3942E4B}">
                  <a14:imgProps xmlns:a14="http://schemas.microsoft.com/office/drawing/2010/main">
                    <a14:imgLayer r:embed="rId581">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325" name="Rectangle 5"/>
            <p:cNvSpPr>
              <a:spLocks noChangeArrowheads="1"/>
            </p:cNvSpPr>
            <p:nvPr>
              <p:custDataLst>
                <p:tags r:id="rId536"/>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a:t>
              </a:r>
              <a:r>
                <a:rPr lang="en-US" sz="900" dirty="0" smtClean="0">
                  <a:solidFill>
                    <a:srgbClr val="59452A"/>
                  </a:solidFill>
                  <a:latin typeface="Gill Sans MT" pitchFamily="34" charset="0"/>
                  <a:cs typeface="Arial" charset="0"/>
                </a:rPr>
                <a:t>ollection &amp; use of data</a:t>
              </a:r>
              <a:endParaRPr lang="en-US" sz="800" dirty="0">
                <a:solidFill>
                  <a:srgbClr val="59452A"/>
                </a:solidFill>
                <a:latin typeface="Gill Sans MT" pitchFamily="34" charset="0"/>
                <a:cs typeface="Arial" charset="0"/>
              </a:endParaRPr>
            </a:p>
          </p:txBody>
        </p:sp>
        <p:pic>
          <p:nvPicPr>
            <p:cNvPr id="92187" name="Picture 27" descr="C:\Users\mattha\AppData\Local\Microsoft\Windows\Temporary Internet Files\Content.IE5\DT8ZIQ2F\MC900434829[1].png"/>
            <p:cNvPicPr>
              <a:picLocks noChangeAspect="1" noChangeArrowheads="1"/>
            </p:cNvPicPr>
            <p:nvPr>
              <p:custDataLst>
                <p:tags r:id="rId537"/>
              </p:custDataLst>
            </p:nvPr>
          </p:nvPicPr>
          <p:blipFill>
            <a:blip r:embed="rId582" cstate="print">
              <a:extLst>
                <a:ext uri="{BEBA8EAE-BF5A-486C-A8C5-ECC9F3942E4B}">
                  <a14:imgProps xmlns:a14="http://schemas.microsoft.com/office/drawing/2010/main">
                    <a14:imgLayer r:embed="rId58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92195" name="Picture 35" descr="C:\Users\mattha\AppData\Local\Microsoft\Windows\Temporary Internet Files\Content.IE5\GIPOTG0L\MC900389208[1].wmf"/>
            <p:cNvPicPr>
              <a:picLocks noChangeAspect="1" noChangeArrowheads="1"/>
            </p:cNvPicPr>
            <p:nvPr>
              <p:custDataLst>
                <p:tags r:id="rId538"/>
              </p:custDataLst>
            </p:nvPr>
          </p:nvPicPr>
          <p:blipFill>
            <a:blip r:embed="rId584"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410" name="Picture 5"/>
            <p:cNvPicPr>
              <a:picLocks noChangeAspect="1" noChangeArrowheads="1"/>
            </p:cNvPicPr>
            <p:nvPr>
              <p:custDataLst>
                <p:tags r:id="rId539"/>
              </p:custDataLst>
            </p:nvPr>
          </p:nvPicPr>
          <p:blipFill>
            <a:blip r:embed="rId573"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92208" name="Picture 48" descr="C:\Users\mattha\AppData\Local\Microsoft\Windows\Temporary Internet Files\Content.IE5\2H1X03YN\MC900431595[1].png"/>
            <p:cNvPicPr>
              <a:picLocks noChangeAspect="1" noChangeArrowheads="1"/>
            </p:cNvPicPr>
            <p:nvPr>
              <p:custDataLst>
                <p:tags r:id="rId540"/>
              </p:custDataLst>
            </p:nvPr>
          </p:nvPicPr>
          <p:blipFill>
            <a:blip r:embed="rId585" cstate="print">
              <a:duotone>
                <a:prstClr val="black"/>
                <a:schemeClr val="accent4">
                  <a:tint val="45000"/>
                  <a:satMod val="400000"/>
                </a:schemeClr>
              </a:duotone>
              <a:extLst>
                <a:ext uri="{BEBA8EAE-BF5A-486C-A8C5-ECC9F3942E4B}">
                  <a14:imgProps xmlns:a14="http://schemas.microsoft.com/office/drawing/2010/main">
                    <a14:imgLayer r:embed="rId58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92210" name="Picture 50" descr="C:\Users\mattha\AppData\Local\Microsoft\Windows\Temporary Internet Files\Content.IE5\DT8ZIQ2F\MC900389384[1].wmf"/>
            <p:cNvPicPr>
              <a:picLocks noChangeAspect="1" noChangeArrowheads="1"/>
            </p:cNvPicPr>
            <p:nvPr>
              <p:custDataLst>
                <p:tags r:id="rId541"/>
              </p:custDataLst>
            </p:nvPr>
          </p:nvPicPr>
          <p:blipFill>
            <a:blip r:embed="rId58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92213" name="Picture 53" descr="C:\Users\mattha\AppData\Local\Microsoft\Windows\Temporary Internet Files\Content.IE5\GIPOTG0L\MC900039023[1].wmf"/>
            <p:cNvPicPr>
              <a:picLocks noChangeAspect="1" noChangeArrowheads="1"/>
            </p:cNvPicPr>
            <p:nvPr>
              <p:custDataLst>
                <p:tags r:id="rId542"/>
              </p:custDataLst>
            </p:nvPr>
          </p:nvPicPr>
          <p:blipFill>
            <a:blip r:embed="rId588"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92214" name="Picture 54" descr="C:\Users\mattha\AppData\Local\Microsoft\Windows\Temporary Internet Files\Content.IE5\GIPOTG0L\MC900431584[1].png"/>
            <p:cNvPicPr>
              <a:picLocks noChangeAspect="1" noChangeArrowheads="1"/>
            </p:cNvPicPr>
            <p:nvPr>
              <p:custDataLst>
                <p:tags r:id="rId543"/>
              </p:custDataLst>
            </p:nvPr>
          </p:nvPicPr>
          <p:blipFill>
            <a:blip r:embed="rId589" cstate="print">
              <a:extLst>
                <a:ext uri="{BEBA8EAE-BF5A-486C-A8C5-ECC9F3942E4B}">
                  <a14:imgProps xmlns:a14="http://schemas.microsoft.com/office/drawing/2010/main">
                    <a14:imgLayer r:embed="rId590">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92217" name="Picture 57" descr="C:\Users\mattha\AppData\Local\Microsoft\Windows\Temporary Internet Files\Content.IE5\GIPOTG0L\MC900412770[1].wmf"/>
            <p:cNvPicPr>
              <a:picLocks noChangeAspect="1" noChangeArrowheads="1"/>
            </p:cNvPicPr>
            <p:nvPr>
              <p:custDataLst>
                <p:tags r:id="rId544"/>
              </p:custDataLst>
            </p:nvPr>
          </p:nvPicPr>
          <p:blipFill>
            <a:blip r:embed="rId591"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92226" name="Picture 66" descr="C:\Users\mattha\AppData\Local\Microsoft\Windows\Temporary Internet Files\Content.IE5\GIPOTG0L\MC900442092[1].wmf"/>
            <p:cNvPicPr>
              <a:picLocks noChangeAspect="1" noChangeArrowheads="1"/>
            </p:cNvPicPr>
            <p:nvPr>
              <p:custDataLst>
                <p:tags r:id="rId545"/>
              </p:custDataLst>
            </p:nvPr>
          </p:nvPicPr>
          <p:blipFill>
            <a:blip r:embed="rId592"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440"/>
            <p:cNvGrpSpPr/>
            <p:nvPr>
              <p:custDataLst>
                <p:tags r:id="rId546"/>
              </p:custDataLst>
            </p:nvPr>
          </p:nvGrpSpPr>
          <p:grpSpPr>
            <a:xfrm>
              <a:off x="5244368" y="2613724"/>
              <a:ext cx="249647" cy="251917"/>
              <a:chOff x="7230319" y="326252"/>
              <a:chExt cx="506784" cy="510648"/>
            </a:xfrm>
          </p:grpSpPr>
          <p:pic>
            <p:nvPicPr>
              <p:cNvPr id="442" name="Picture 5"/>
              <p:cNvPicPr>
                <a:picLocks noChangeAspect="1" noChangeArrowheads="1"/>
              </p:cNvPicPr>
              <p:nvPr>
                <p:custDataLst>
                  <p:tags r:id="rId557"/>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443" name="Picture 17"/>
              <p:cNvPicPr>
                <a:picLocks noChangeAspect="1" noChangeArrowheads="1"/>
              </p:cNvPicPr>
              <p:nvPr>
                <p:custDataLst>
                  <p:tags r:id="rId558"/>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444" name="Picture 17"/>
              <p:cNvPicPr>
                <a:picLocks noChangeAspect="1" noChangeArrowheads="1"/>
              </p:cNvPicPr>
              <p:nvPr>
                <p:custDataLst>
                  <p:tags r:id="rId559"/>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445" name="Picture 5"/>
              <p:cNvPicPr>
                <a:picLocks noChangeAspect="1" noChangeArrowheads="1"/>
              </p:cNvPicPr>
              <p:nvPr>
                <p:custDataLst>
                  <p:tags r:id="rId560"/>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446" name="Picture 17"/>
              <p:cNvPicPr>
                <a:picLocks noChangeAspect="1" noChangeArrowheads="1"/>
              </p:cNvPicPr>
              <p:nvPr>
                <p:custDataLst>
                  <p:tags r:id="rId561"/>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447" name="Picture 5"/>
              <p:cNvPicPr>
                <a:picLocks noChangeAspect="1" noChangeArrowheads="1"/>
              </p:cNvPicPr>
              <p:nvPr>
                <p:custDataLst>
                  <p:tags r:id="rId562"/>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457" name="Rectangle 5"/>
            <p:cNvSpPr>
              <a:spLocks noChangeArrowheads="1"/>
            </p:cNvSpPr>
            <p:nvPr>
              <p:custDataLst>
                <p:tags r:id="rId547"/>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40" name="TextBox 39"/>
            <p:cNvSpPr txBox="1"/>
            <p:nvPr>
              <p:custDataLst>
                <p:tags r:id="rId548"/>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smtClean="0">
                  <a:solidFill>
                    <a:srgbClr val="59452A"/>
                  </a:solidFill>
                  <a:latin typeface="Gill Sans MT" pitchFamily="34" charset="0"/>
                  <a:cs typeface="Arial" pitchFamily="34" charset="0"/>
                </a:rPr>
                <a:t>--------------------     Supply chain data      -------------------</a:t>
              </a:r>
            </a:p>
          </p:txBody>
        </p:sp>
        <p:pic>
          <p:nvPicPr>
            <p:cNvPr id="541" name="Picture 5"/>
            <p:cNvPicPr>
              <a:picLocks noChangeAspect="1" noChangeArrowheads="1"/>
            </p:cNvPicPr>
            <p:nvPr>
              <p:custDataLst>
                <p:tags r:id="rId549"/>
              </p:custDataLst>
            </p:nvPr>
          </p:nvPicPr>
          <p:blipFill>
            <a:blip r:embed="rId573"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92247" name="Picture 87" descr="C:\Users\mattha\AppData\Local\Microsoft\Windows\Temporary Internet Files\Content.IE5\DT8ZIQ2F\MC910216326[1].png"/>
            <p:cNvPicPr>
              <a:picLocks noChangeAspect="1" noChangeArrowheads="1"/>
            </p:cNvPicPr>
            <p:nvPr>
              <p:custDataLst>
                <p:tags r:id="rId550"/>
              </p:custDataLst>
            </p:nvPr>
          </p:nvPicPr>
          <p:blipFill>
            <a:blip r:embed="rId593" cstate="print">
              <a:duotone>
                <a:schemeClr val="accent5">
                  <a:shade val="45000"/>
                  <a:satMod val="135000"/>
                </a:schemeClr>
                <a:prstClr val="white"/>
              </a:duotone>
              <a:extLst>
                <a:ext uri="{BEBA8EAE-BF5A-486C-A8C5-ECC9F3942E4B}">
                  <a14:imgProps xmlns:a14="http://schemas.microsoft.com/office/drawing/2010/main">
                    <a14:imgLayer r:embed="rId59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141316" name="Picture 4" descr="Data Chart Clip Art"/>
            <p:cNvPicPr>
              <a:picLocks noChangeAspect="1" noChangeArrowheads="1"/>
            </p:cNvPicPr>
            <p:nvPr>
              <p:custDataLst>
                <p:tags r:id="rId551"/>
              </p:custDataLst>
            </p:nvPr>
          </p:nvPicPr>
          <p:blipFill>
            <a:blip r:embed="rId595" cstate="print"/>
            <a:srcRect/>
            <a:stretch>
              <a:fillRect/>
            </a:stretch>
          </p:blipFill>
          <p:spPr bwMode="auto">
            <a:xfrm>
              <a:off x="3571875" y="2470595"/>
              <a:ext cx="247650" cy="236093"/>
            </a:xfrm>
            <a:prstGeom prst="rect">
              <a:avLst/>
            </a:prstGeom>
            <a:noFill/>
          </p:spPr>
        </p:pic>
        <p:grpSp>
          <p:nvGrpSpPr>
            <p:cNvPr id="11" name="Group 848"/>
            <p:cNvGrpSpPr/>
            <p:nvPr>
              <p:custDataLst>
                <p:tags r:id="rId552"/>
              </p:custDataLst>
            </p:nvPr>
          </p:nvGrpSpPr>
          <p:grpSpPr>
            <a:xfrm>
              <a:off x="2257425" y="3627438"/>
              <a:ext cx="274638" cy="333375"/>
              <a:chOff x="2257425" y="3627438"/>
              <a:chExt cx="274638" cy="333375"/>
            </a:xfrm>
          </p:grpSpPr>
          <p:sp>
            <p:nvSpPr>
              <p:cNvPr id="141318"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0"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1"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2"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3"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4"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5"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6"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7"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8"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29"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0"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1"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2"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3"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4"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5"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6"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7"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8"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39"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0"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1"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2"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3"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4"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5"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6"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7"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8"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49"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50"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41351"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850" name="Rectangle 5"/>
            <p:cNvSpPr>
              <a:spLocks noChangeArrowheads="1"/>
            </p:cNvSpPr>
            <p:nvPr>
              <p:custDataLst>
                <p:tags r:id="rId553"/>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ENABLING PARTNER ENVIRONMENT</a:t>
              </a:r>
            </a:p>
          </p:txBody>
        </p:sp>
        <p:pic>
          <p:nvPicPr>
            <p:cNvPr id="1132" name="Picture 2" descr="https://encrypted-tbn1.google.com/images?q=tbn:ANd9GcQ2iDgw2b5ZvUXP-l4Qh60g3Q0yQgF2uKGxP2r60bac0hT5CFlVgw"/>
            <p:cNvPicPr>
              <a:picLocks noChangeAspect="1" noChangeArrowheads="1"/>
            </p:cNvPicPr>
            <p:nvPr>
              <p:custDataLst>
                <p:tags r:id="rId554"/>
              </p:custDataLst>
            </p:nvPr>
          </p:nvPicPr>
          <p:blipFill>
            <a:blip r:embed="rId596"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7">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sp>
          <p:nvSpPr>
            <p:cNvPr id="386" name="Rectangle 5"/>
            <p:cNvSpPr>
              <a:spLocks noChangeArrowheads="1"/>
            </p:cNvSpPr>
            <p:nvPr>
              <p:custDataLst>
                <p:tags r:id="rId555"/>
              </p:custDataLst>
            </p:nvPr>
          </p:nvSpPr>
          <p:spPr bwMode="gray">
            <a:xfrm>
              <a:off x="1049956" y="6400438"/>
              <a:ext cx="6579143" cy="348378"/>
            </a:xfrm>
            <a:prstGeom prst="rect">
              <a:avLst/>
            </a:prstGeom>
            <a:noFill/>
            <a:ln w="9525" algn="ctr">
              <a:noFill/>
              <a:miter lim="800000"/>
              <a:headEnd/>
              <a:tailEnd/>
            </a:ln>
            <a:effectLst/>
          </p:spPr>
          <p:txBody>
            <a:bodyPr lIns="0" tIns="0" rIns="0" bIns="0" anchor="ctr" anchorCtr="0"/>
            <a:lstStyle/>
            <a:p>
              <a:pP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overnance, stability, and national infrastructure essential to vaccination systems but out of scope here.</a:t>
              </a:r>
              <a:endParaRPr lang="en-US" sz="800" dirty="0">
                <a:solidFill>
                  <a:srgbClr val="59452A"/>
                </a:solidFill>
                <a:latin typeface="Gill Sans MT" pitchFamily="34" charset="0"/>
                <a:cs typeface="Arial" charset="0"/>
              </a:endParaRPr>
            </a:p>
          </p:txBody>
        </p:sp>
        <p:pic>
          <p:nvPicPr>
            <p:cNvPr id="387" name="Picture 3"/>
            <p:cNvPicPr>
              <a:picLocks noChangeAspect="1" noChangeArrowheads="1"/>
            </p:cNvPicPr>
            <p:nvPr>
              <p:custDataLst>
                <p:tags r:id="rId556"/>
              </p:custDataLst>
            </p:nvPr>
          </p:nvPicPr>
          <p:blipFill>
            <a:blip r:embed="rId598"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grpSp>
        <p:nvGrpSpPr>
          <p:cNvPr id="12" name="Group 389"/>
          <p:cNvGrpSpPr/>
          <p:nvPr/>
        </p:nvGrpSpPr>
        <p:grpSpPr>
          <a:xfrm>
            <a:off x="0" y="-743849"/>
            <a:ext cx="9126743" cy="7601849"/>
            <a:chOff x="0" y="-743849"/>
            <a:chExt cx="9126743" cy="7601849"/>
          </a:xfrm>
        </p:grpSpPr>
        <p:sp>
          <p:nvSpPr>
            <p:cNvPr id="391" name="Rectangle 5"/>
            <p:cNvSpPr>
              <a:spLocks noChangeArrowheads="1"/>
            </p:cNvSpPr>
            <p:nvPr>
              <p:custDataLst>
                <p:tags r:id="rId413"/>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smtClean="0">
                <a:solidFill>
                  <a:srgbClr val="FFFFFF"/>
                </a:solidFill>
                <a:latin typeface="Gill Sans MT" pitchFamily="34" charset="0"/>
                <a:cs typeface="Arial" charset="0"/>
              </a:endParaRPr>
            </a:p>
          </p:txBody>
        </p:sp>
        <p:sp>
          <p:nvSpPr>
            <p:cNvPr id="392" name="Rounded Rectangle 391"/>
            <p:cNvSpPr/>
            <p:nvPr>
              <p:custDataLst>
                <p:tags r:id="rId414"/>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393" name="Rectangle 5"/>
            <p:cNvSpPr>
              <a:spLocks noChangeArrowheads="1"/>
            </p:cNvSpPr>
            <p:nvPr>
              <p:custDataLst>
                <p:tags r:id="rId415"/>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GLOBAL</a:t>
              </a:r>
            </a:p>
          </p:txBody>
        </p:sp>
        <p:sp>
          <p:nvSpPr>
            <p:cNvPr id="394" name="Rectangle 5"/>
            <p:cNvSpPr>
              <a:spLocks noChangeArrowheads="1"/>
            </p:cNvSpPr>
            <p:nvPr>
              <p:custDataLst>
                <p:tags r:id="rId416"/>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NATIONAL</a:t>
              </a:r>
            </a:p>
          </p:txBody>
        </p:sp>
        <p:sp>
          <p:nvSpPr>
            <p:cNvPr id="395" name="Rectangle 5"/>
            <p:cNvSpPr>
              <a:spLocks noChangeArrowheads="1"/>
            </p:cNvSpPr>
            <p:nvPr>
              <p:custDataLst>
                <p:tags r:id="rId417"/>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LOCAL</a:t>
              </a:r>
            </a:p>
          </p:txBody>
        </p:sp>
        <p:sp>
          <p:nvSpPr>
            <p:cNvPr id="396" name="Rectangle 5"/>
            <p:cNvSpPr>
              <a:spLocks noChangeArrowheads="1"/>
            </p:cNvSpPr>
            <p:nvPr>
              <p:custDataLst>
                <p:tags r:id="rId418"/>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POLITICAL COMMITMENT</a:t>
              </a:r>
            </a:p>
          </p:txBody>
        </p:sp>
        <p:sp>
          <p:nvSpPr>
            <p:cNvPr id="397" name="Rectangle 5"/>
            <p:cNvSpPr>
              <a:spLocks noChangeArrowheads="1"/>
            </p:cNvSpPr>
            <p:nvPr>
              <p:custDataLst>
                <p:tags r:id="rId419"/>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FINANCING &amp; PRICING</a:t>
              </a:r>
            </a:p>
          </p:txBody>
        </p:sp>
        <p:sp>
          <p:nvSpPr>
            <p:cNvPr id="398" name="Chord 397"/>
            <p:cNvSpPr/>
            <p:nvPr>
              <p:custDataLst>
                <p:tags r:id="rId420"/>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399" name="Chord 398"/>
            <p:cNvSpPr/>
            <p:nvPr>
              <p:custDataLst>
                <p:tags r:id="rId421"/>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400" name="Chord 399"/>
            <p:cNvSpPr/>
            <p:nvPr>
              <p:custDataLst>
                <p:tags r:id="rId422"/>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01" name="Chord 400"/>
            <p:cNvSpPr/>
            <p:nvPr>
              <p:custDataLst>
                <p:tags r:id="rId423"/>
              </p:custDataLst>
            </p:nvPr>
          </p:nvSpPr>
          <p:spPr bwMode="gray">
            <a:xfrm rot="17541648">
              <a:off x="3854254" y="693028"/>
              <a:ext cx="1701057" cy="1701057"/>
            </a:xfrm>
            <a:prstGeom prst="chord">
              <a:avLst/>
            </a:prstGeom>
            <a:solidFill>
              <a:srgbClr val="FFE56F"/>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402" name="Straight Connector 401"/>
            <p:cNvCxnSpPr/>
            <p:nvPr>
              <p:custDataLst>
                <p:tags r:id="rId424"/>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403" name="Straight Connector 402"/>
            <p:cNvCxnSpPr/>
            <p:nvPr>
              <p:custDataLst>
                <p:tags r:id="rId425"/>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404" name="Rectangle 5"/>
            <p:cNvSpPr>
              <a:spLocks noChangeArrowheads="1"/>
            </p:cNvSpPr>
            <p:nvPr>
              <p:custDataLst>
                <p:tags r:id="rId426"/>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405" name="Rectangle 5"/>
            <p:cNvSpPr>
              <a:spLocks noChangeArrowheads="1"/>
            </p:cNvSpPr>
            <p:nvPr>
              <p:custDataLst>
                <p:tags r:id="rId427"/>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406" name="Rectangle 5"/>
            <p:cNvSpPr>
              <a:spLocks noChangeArrowheads="1"/>
            </p:cNvSpPr>
            <p:nvPr>
              <p:custDataLst>
                <p:tags r:id="rId428"/>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407" name="Straight Connector 406"/>
            <p:cNvCxnSpPr/>
            <p:nvPr>
              <p:custDataLst>
                <p:tags r:id="rId429"/>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408" name="Rectangle 5"/>
            <p:cNvSpPr>
              <a:spLocks noChangeArrowheads="1"/>
            </p:cNvSpPr>
            <p:nvPr>
              <p:custDataLst>
                <p:tags r:id="rId430"/>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fficient supplies at health posts</a:t>
              </a:r>
              <a:endParaRPr lang="en-US" sz="900" dirty="0">
                <a:solidFill>
                  <a:srgbClr val="59452A"/>
                </a:solidFill>
                <a:latin typeface="Gill Sans MT" pitchFamily="34" charset="0"/>
                <a:cs typeface="Arial" charset="0"/>
              </a:endParaRPr>
            </a:p>
          </p:txBody>
        </p:sp>
        <p:sp>
          <p:nvSpPr>
            <p:cNvPr id="411" name="Rectangle 5"/>
            <p:cNvSpPr>
              <a:spLocks noChangeArrowheads="1"/>
            </p:cNvSpPr>
            <p:nvPr>
              <p:custDataLst>
                <p:tags r:id="rId431"/>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412" name="Straight Connector 411"/>
            <p:cNvCxnSpPr/>
            <p:nvPr>
              <p:custDataLst>
                <p:tags r:id="rId432"/>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413" name="Straight Connector 412"/>
            <p:cNvCxnSpPr/>
            <p:nvPr>
              <p:custDataLst>
                <p:tags r:id="rId433"/>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415" name="Rectangle 5"/>
            <p:cNvSpPr>
              <a:spLocks noChangeArrowheads="1"/>
            </p:cNvSpPr>
            <p:nvPr>
              <p:custDataLst>
                <p:tags r:id="rId434"/>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416" name="Rectangle 5"/>
            <p:cNvSpPr>
              <a:spLocks noChangeArrowheads="1"/>
            </p:cNvSpPr>
            <p:nvPr>
              <p:custDataLst>
                <p:tags r:id="rId435"/>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417" name="Picture 5"/>
            <p:cNvPicPr>
              <a:picLocks noChangeAspect="1" noChangeArrowheads="1"/>
            </p:cNvPicPr>
            <p:nvPr>
              <p:custDataLst>
                <p:tags r:id="rId436"/>
              </p:custDataLst>
            </p:nvPr>
          </p:nvPicPr>
          <p:blipFill>
            <a:blip r:embed="rId573"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418" name="Rectangle 5"/>
            <p:cNvSpPr>
              <a:spLocks noChangeArrowheads="1"/>
            </p:cNvSpPr>
            <p:nvPr>
              <p:custDataLst>
                <p:tags r:id="rId437"/>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419" name="Straight Connector 418"/>
            <p:cNvCxnSpPr/>
            <p:nvPr>
              <p:custDataLst>
                <p:tags r:id="rId438"/>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422" name="Rectangle 5"/>
            <p:cNvSpPr>
              <a:spLocks noChangeArrowheads="1"/>
            </p:cNvSpPr>
            <p:nvPr>
              <p:custDataLst>
                <p:tags r:id="rId439"/>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423" name="Rectangle 5"/>
            <p:cNvSpPr>
              <a:spLocks noChangeArrowheads="1"/>
            </p:cNvSpPr>
            <p:nvPr>
              <p:custDataLst>
                <p:tags r:id="rId440"/>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424" name="Rectangle 5"/>
            <p:cNvSpPr>
              <a:spLocks noChangeArrowheads="1"/>
            </p:cNvSpPr>
            <p:nvPr>
              <p:custDataLst>
                <p:tags r:id="rId441"/>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13" name="Group 927"/>
            <p:cNvGrpSpPr/>
            <p:nvPr>
              <p:custDataLst>
                <p:tags r:id="rId442"/>
              </p:custDataLst>
            </p:nvPr>
          </p:nvGrpSpPr>
          <p:grpSpPr>
            <a:xfrm>
              <a:off x="2375776" y="2430017"/>
              <a:ext cx="532015" cy="444343"/>
              <a:chOff x="5085316" y="2082799"/>
              <a:chExt cx="777013" cy="639762"/>
            </a:xfrm>
          </p:grpSpPr>
          <p:sp>
            <p:nvSpPr>
              <p:cNvPr id="524" name="Freeform 25"/>
              <p:cNvSpPr>
                <a:spLocks noChangeAspect="1"/>
              </p:cNvSpPr>
              <p:nvPr>
                <p:custDataLst>
                  <p:tags r:id="rId490"/>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525" name="Picture 3"/>
              <p:cNvPicPr>
                <a:picLocks noChangeAspect="1" noChangeArrowheads="1"/>
              </p:cNvPicPr>
              <p:nvPr/>
            </p:nvPicPr>
            <p:blipFill>
              <a:blip r:embed="rId574"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526" name="Picture 3"/>
              <p:cNvPicPr>
                <a:picLocks noChangeAspect="1" noChangeArrowheads="1"/>
              </p:cNvPicPr>
              <p:nvPr/>
            </p:nvPicPr>
            <p:blipFill>
              <a:blip r:embed="rId574"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527" name="Picture 3"/>
              <p:cNvPicPr>
                <a:picLocks noChangeAspect="1" noChangeArrowheads="1"/>
              </p:cNvPicPr>
              <p:nvPr/>
            </p:nvPicPr>
            <p:blipFill>
              <a:blip r:embed="rId574"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426" name="Rectangle 5"/>
            <p:cNvSpPr>
              <a:spLocks noChangeArrowheads="1"/>
            </p:cNvSpPr>
            <p:nvPr>
              <p:custDataLst>
                <p:tags r:id="rId443"/>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430" name="Rectangle 5"/>
            <p:cNvSpPr>
              <a:spLocks noChangeArrowheads="1"/>
            </p:cNvSpPr>
            <p:nvPr>
              <p:custDataLst>
                <p:tags r:id="rId444"/>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431" name="Rectangle 5"/>
            <p:cNvSpPr>
              <a:spLocks noChangeArrowheads="1"/>
            </p:cNvSpPr>
            <p:nvPr>
              <p:custDataLst>
                <p:tags r:id="rId445"/>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436" name="Rectangle 5"/>
            <p:cNvSpPr>
              <a:spLocks noChangeArrowheads="1"/>
            </p:cNvSpPr>
            <p:nvPr>
              <p:custDataLst>
                <p:tags r:id="rId446"/>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Data to guide national decision making</a:t>
              </a:r>
            </a:p>
          </p:txBody>
        </p:sp>
        <p:pic>
          <p:nvPicPr>
            <p:cNvPr id="437" name="Picture 21"/>
            <p:cNvPicPr>
              <a:picLocks noChangeAspect="1" noChangeArrowheads="1"/>
            </p:cNvPicPr>
            <p:nvPr>
              <p:custDataLst>
                <p:tags r:id="rId447"/>
              </p:custDataLst>
            </p:nvPr>
          </p:nvPicPr>
          <p:blipFill>
            <a:blip r:embed="rId575"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439" name="Rectangle 5"/>
            <p:cNvSpPr>
              <a:spLocks noChangeArrowheads="1"/>
            </p:cNvSpPr>
            <p:nvPr>
              <p:custDataLst>
                <p:tags r:id="rId448"/>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440" name="Picture 5"/>
            <p:cNvPicPr>
              <a:picLocks noChangeAspect="1" noChangeArrowheads="1"/>
            </p:cNvPicPr>
            <p:nvPr>
              <p:custDataLst>
                <p:tags r:id="rId449"/>
              </p:custDataLst>
            </p:nvPr>
          </p:nvPicPr>
          <p:blipFill>
            <a:blip r:embed="rId576"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441" name="Straight Connector 440"/>
            <p:cNvCxnSpPr/>
            <p:nvPr>
              <p:custDataLst>
                <p:tags r:id="rId450"/>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448" name="Rectangle 5"/>
            <p:cNvSpPr>
              <a:spLocks noChangeArrowheads="1"/>
            </p:cNvSpPr>
            <p:nvPr>
              <p:custDataLst>
                <p:tags r:id="rId451"/>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449" name="Rectangle 5"/>
            <p:cNvSpPr>
              <a:spLocks noChangeArrowheads="1"/>
            </p:cNvSpPr>
            <p:nvPr>
              <p:custDataLst>
                <p:tags r:id="rId452"/>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14" name="Group 435"/>
            <p:cNvGrpSpPr/>
            <p:nvPr>
              <p:custDataLst>
                <p:tags r:id="rId453"/>
              </p:custDataLst>
            </p:nvPr>
          </p:nvGrpSpPr>
          <p:grpSpPr>
            <a:xfrm>
              <a:off x="5851932" y="2523591"/>
              <a:ext cx="249647" cy="251917"/>
              <a:chOff x="7230319" y="326252"/>
              <a:chExt cx="506784" cy="510648"/>
            </a:xfrm>
          </p:grpSpPr>
          <p:pic>
            <p:nvPicPr>
              <p:cNvPr id="518" name="Picture 5"/>
              <p:cNvPicPr>
                <a:picLocks noChangeAspect="1" noChangeArrowheads="1"/>
              </p:cNvPicPr>
              <p:nvPr>
                <p:custDataLst>
                  <p:tags r:id="rId484"/>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519" name="Picture 17"/>
              <p:cNvPicPr>
                <a:picLocks noChangeAspect="1" noChangeArrowheads="1"/>
              </p:cNvPicPr>
              <p:nvPr>
                <p:custDataLst>
                  <p:tags r:id="rId485"/>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520" name="Picture 17"/>
              <p:cNvPicPr>
                <a:picLocks noChangeAspect="1" noChangeArrowheads="1"/>
              </p:cNvPicPr>
              <p:nvPr>
                <p:custDataLst>
                  <p:tags r:id="rId486"/>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521" name="Picture 5"/>
              <p:cNvPicPr>
                <a:picLocks noChangeAspect="1" noChangeArrowheads="1"/>
              </p:cNvPicPr>
              <p:nvPr>
                <p:custDataLst>
                  <p:tags r:id="rId487"/>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522" name="Picture 17"/>
              <p:cNvPicPr>
                <a:picLocks noChangeAspect="1" noChangeArrowheads="1"/>
              </p:cNvPicPr>
              <p:nvPr>
                <p:custDataLst>
                  <p:tags r:id="rId488"/>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523" name="Picture 5"/>
              <p:cNvPicPr>
                <a:picLocks noChangeAspect="1" noChangeArrowheads="1"/>
              </p:cNvPicPr>
              <p:nvPr>
                <p:custDataLst>
                  <p:tags r:id="rId489"/>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452" name="Rectangle 5"/>
            <p:cNvSpPr>
              <a:spLocks noChangeArrowheads="1"/>
            </p:cNvSpPr>
            <p:nvPr>
              <p:custDataLst>
                <p:tags r:id="rId454"/>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453" name="Picture 7" descr="C:\Users\mattha\AppData\Local\Microsoft\Windows\Temporary Internet Files\Content.IE5\A0YJT0Y2\MC900368410[1].wmf"/>
            <p:cNvPicPr>
              <a:picLocks noChangeAspect="1" noChangeArrowheads="1"/>
            </p:cNvPicPr>
            <p:nvPr>
              <p:custDataLst>
                <p:tags r:id="rId455"/>
              </p:custDataLst>
            </p:nvPr>
          </p:nvPicPr>
          <p:blipFill>
            <a:blip r:embed="rId578"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9" descr="C:\Users\mattha\AppData\Local\Microsoft\Windows\Temporary Internet Files\Content.IE5\WZUD8JML\MC900286861[1].wmf"/>
            <p:cNvPicPr>
              <a:picLocks noChangeAspect="1" noChangeArrowheads="1"/>
            </p:cNvPicPr>
            <p:nvPr>
              <p:custDataLst>
                <p:tags r:id="rId456"/>
              </p:custDataLst>
            </p:nvPr>
          </p:nvPicPr>
          <p:blipFill>
            <a:blip r:embed="rId579"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458" name="Picture 15" descr="C:\Users\mattha\AppData\Local\Microsoft\Windows\Temporary Internet Files\Content.IE5\6RMOFZA8\MC900434820[1].png"/>
            <p:cNvPicPr>
              <a:picLocks noChangeAspect="1" noChangeArrowheads="1"/>
            </p:cNvPicPr>
            <p:nvPr>
              <p:custDataLst>
                <p:tags r:id="rId457"/>
              </p:custDataLst>
            </p:nvPr>
          </p:nvPicPr>
          <p:blipFill>
            <a:blip r:embed="rId580" cstate="print">
              <a:duotone>
                <a:schemeClr val="accent4">
                  <a:shade val="45000"/>
                  <a:satMod val="135000"/>
                </a:schemeClr>
                <a:prstClr val="white"/>
              </a:duotone>
              <a:extLst>
                <a:ext uri="{BEBA8EAE-BF5A-486C-A8C5-ECC9F3942E4B}">
                  <a14:imgProps xmlns:a14="http://schemas.microsoft.com/office/drawing/2010/main">
                    <a14:imgLayer r:embed="rId581">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459" name="Rectangle 5"/>
            <p:cNvSpPr>
              <a:spLocks noChangeArrowheads="1"/>
            </p:cNvSpPr>
            <p:nvPr>
              <p:custDataLst>
                <p:tags r:id="rId458"/>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a:t>
              </a:r>
              <a:r>
                <a:rPr lang="en-US" sz="900" dirty="0" smtClean="0">
                  <a:solidFill>
                    <a:srgbClr val="59452A"/>
                  </a:solidFill>
                  <a:latin typeface="Gill Sans MT" pitchFamily="34" charset="0"/>
                  <a:cs typeface="Arial" charset="0"/>
                </a:rPr>
                <a:t>ollection &amp; use of data</a:t>
              </a:r>
              <a:endParaRPr lang="en-US" sz="800" dirty="0">
                <a:solidFill>
                  <a:srgbClr val="59452A"/>
                </a:solidFill>
                <a:latin typeface="Gill Sans MT" pitchFamily="34" charset="0"/>
                <a:cs typeface="Arial" charset="0"/>
              </a:endParaRPr>
            </a:p>
          </p:txBody>
        </p:sp>
        <p:pic>
          <p:nvPicPr>
            <p:cNvPr id="460" name="Picture 27" descr="C:\Users\mattha\AppData\Local\Microsoft\Windows\Temporary Internet Files\Content.IE5\DT8ZIQ2F\MC900434829[1].png"/>
            <p:cNvPicPr>
              <a:picLocks noChangeAspect="1" noChangeArrowheads="1"/>
            </p:cNvPicPr>
            <p:nvPr>
              <p:custDataLst>
                <p:tags r:id="rId459"/>
              </p:custDataLst>
            </p:nvPr>
          </p:nvPicPr>
          <p:blipFill>
            <a:blip r:embed="rId582" cstate="print">
              <a:extLst>
                <a:ext uri="{BEBA8EAE-BF5A-486C-A8C5-ECC9F3942E4B}">
                  <a14:imgProps xmlns:a14="http://schemas.microsoft.com/office/drawing/2010/main">
                    <a14:imgLayer r:embed="rId58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35" descr="C:\Users\mattha\AppData\Local\Microsoft\Windows\Temporary Internet Files\Content.IE5\GIPOTG0L\MC900389208[1].wmf"/>
            <p:cNvPicPr>
              <a:picLocks noChangeAspect="1" noChangeArrowheads="1"/>
            </p:cNvPicPr>
            <p:nvPr>
              <p:custDataLst>
                <p:tags r:id="rId460"/>
              </p:custDataLst>
            </p:nvPr>
          </p:nvPicPr>
          <p:blipFill>
            <a:blip r:embed="rId584"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462" name="Picture 5"/>
            <p:cNvPicPr>
              <a:picLocks noChangeAspect="1" noChangeArrowheads="1"/>
            </p:cNvPicPr>
            <p:nvPr>
              <p:custDataLst>
                <p:tags r:id="rId461"/>
              </p:custDataLst>
            </p:nvPr>
          </p:nvPicPr>
          <p:blipFill>
            <a:blip r:embed="rId573"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463" name="Picture 48" descr="C:\Users\mattha\AppData\Local\Microsoft\Windows\Temporary Internet Files\Content.IE5\2H1X03YN\MC900431595[1].png"/>
            <p:cNvPicPr>
              <a:picLocks noChangeAspect="1" noChangeArrowheads="1"/>
            </p:cNvPicPr>
            <p:nvPr>
              <p:custDataLst>
                <p:tags r:id="rId462"/>
              </p:custDataLst>
            </p:nvPr>
          </p:nvPicPr>
          <p:blipFill>
            <a:blip r:embed="rId585" cstate="print">
              <a:duotone>
                <a:prstClr val="black"/>
                <a:schemeClr val="accent4">
                  <a:tint val="45000"/>
                  <a:satMod val="400000"/>
                </a:schemeClr>
              </a:duotone>
              <a:extLst>
                <a:ext uri="{BEBA8EAE-BF5A-486C-A8C5-ECC9F3942E4B}">
                  <a14:imgProps xmlns:a14="http://schemas.microsoft.com/office/drawing/2010/main">
                    <a14:imgLayer r:embed="rId58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464" name="Picture 50" descr="C:\Users\mattha\AppData\Local\Microsoft\Windows\Temporary Internet Files\Content.IE5\DT8ZIQ2F\MC900389384[1].wmf"/>
            <p:cNvPicPr>
              <a:picLocks noChangeAspect="1" noChangeArrowheads="1"/>
            </p:cNvPicPr>
            <p:nvPr>
              <p:custDataLst>
                <p:tags r:id="rId463"/>
              </p:custDataLst>
            </p:nvPr>
          </p:nvPicPr>
          <p:blipFill>
            <a:blip r:embed="rId58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465" name="Picture 53" descr="C:\Users\mattha\AppData\Local\Microsoft\Windows\Temporary Internet Files\Content.IE5\GIPOTG0L\MC900039023[1].wmf"/>
            <p:cNvPicPr>
              <a:picLocks noChangeAspect="1" noChangeArrowheads="1"/>
            </p:cNvPicPr>
            <p:nvPr>
              <p:custDataLst>
                <p:tags r:id="rId464"/>
              </p:custDataLst>
            </p:nvPr>
          </p:nvPicPr>
          <p:blipFill>
            <a:blip r:embed="rId588"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466" name="Picture 54" descr="C:\Users\mattha\AppData\Local\Microsoft\Windows\Temporary Internet Files\Content.IE5\GIPOTG0L\MC900431584[1].png"/>
            <p:cNvPicPr>
              <a:picLocks noChangeAspect="1" noChangeArrowheads="1"/>
            </p:cNvPicPr>
            <p:nvPr>
              <p:custDataLst>
                <p:tags r:id="rId465"/>
              </p:custDataLst>
            </p:nvPr>
          </p:nvPicPr>
          <p:blipFill>
            <a:blip r:embed="rId589" cstate="print">
              <a:extLst>
                <a:ext uri="{BEBA8EAE-BF5A-486C-A8C5-ECC9F3942E4B}">
                  <a14:imgProps xmlns:a14="http://schemas.microsoft.com/office/drawing/2010/main">
                    <a14:imgLayer r:embed="rId590">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467" name="Picture 57" descr="C:\Users\mattha\AppData\Local\Microsoft\Windows\Temporary Internet Files\Content.IE5\GIPOTG0L\MC900412770[1].wmf"/>
            <p:cNvPicPr>
              <a:picLocks noChangeAspect="1" noChangeArrowheads="1"/>
            </p:cNvPicPr>
            <p:nvPr>
              <p:custDataLst>
                <p:tags r:id="rId466"/>
              </p:custDataLst>
            </p:nvPr>
          </p:nvPicPr>
          <p:blipFill>
            <a:blip r:embed="rId591"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468" name="Picture 66" descr="C:\Users\mattha\AppData\Local\Microsoft\Windows\Temporary Internet Files\Content.IE5\GIPOTG0L\MC900442092[1].wmf"/>
            <p:cNvPicPr>
              <a:picLocks noChangeAspect="1" noChangeArrowheads="1"/>
            </p:cNvPicPr>
            <p:nvPr>
              <p:custDataLst>
                <p:tags r:id="rId467"/>
              </p:custDataLst>
            </p:nvPr>
          </p:nvPicPr>
          <p:blipFill>
            <a:blip r:embed="rId592"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440"/>
            <p:cNvGrpSpPr/>
            <p:nvPr>
              <p:custDataLst>
                <p:tags r:id="rId468"/>
              </p:custDataLst>
            </p:nvPr>
          </p:nvGrpSpPr>
          <p:grpSpPr>
            <a:xfrm>
              <a:off x="5244368" y="2613724"/>
              <a:ext cx="249647" cy="251917"/>
              <a:chOff x="7230319" y="326252"/>
              <a:chExt cx="506784" cy="510648"/>
            </a:xfrm>
          </p:grpSpPr>
          <p:pic>
            <p:nvPicPr>
              <p:cNvPr id="512" name="Picture 5"/>
              <p:cNvPicPr>
                <a:picLocks noChangeAspect="1" noChangeArrowheads="1"/>
              </p:cNvPicPr>
              <p:nvPr>
                <p:custDataLst>
                  <p:tags r:id="rId478"/>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513" name="Picture 17"/>
              <p:cNvPicPr>
                <a:picLocks noChangeAspect="1" noChangeArrowheads="1"/>
              </p:cNvPicPr>
              <p:nvPr>
                <p:custDataLst>
                  <p:tags r:id="rId479"/>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514" name="Picture 17"/>
              <p:cNvPicPr>
                <a:picLocks noChangeAspect="1" noChangeArrowheads="1"/>
              </p:cNvPicPr>
              <p:nvPr>
                <p:custDataLst>
                  <p:tags r:id="rId480"/>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515" name="Picture 5"/>
              <p:cNvPicPr>
                <a:picLocks noChangeAspect="1" noChangeArrowheads="1"/>
              </p:cNvPicPr>
              <p:nvPr>
                <p:custDataLst>
                  <p:tags r:id="rId481"/>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516" name="Picture 17"/>
              <p:cNvPicPr>
                <a:picLocks noChangeAspect="1" noChangeArrowheads="1"/>
              </p:cNvPicPr>
              <p:nvPr>
                <p:custDataLst>
                  <p:tags r:id="rId482"/>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517" name="Picture 5"/>
              <p:cNvPicPr>
                <a:picLocks noChangeAspect="1" noChangeArrowheads="1"/>
              </p:cNvPicPr>
              <p:nvPr>
                <p:custDataLst>
                  <p:tags r:id="rId483"/>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470" name="Rectangle 5"/>
            <p:cNvSpPr>
              <a:spLocks noChangeArrowheads="1"/>
            </p:cNvSpPr>
            <p:nvPr>
              <p:custDataLst>
                <p:tags r:id="rId469"/>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471" name="TextBox 470"/>
            <p:cNvSpPr txBox="1"/>
            <p:nvPr>
              <p:custDataLst>
                <p:tags r:id="rId470"/>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smtClean="0">
                  <a:solidFill>
                    <a:srgbClr val="59452A"/>
                  </a:solidFill>
                  <a:latin typeface="Gill Sans MT" pitchFamily="34" charset="0"/>
                  <a:cs typeface="Arial" pitchFamily="34" charset="0"/>
                </a:rPr>
                <a:t>--------------------     Supply chain data      -------------------</a:t>
              </a:r>
            </a:p>
          </p:txBody>
        </p:sp>
        <p:pic>
          <p:nvPicPr>
            <p:cNvPr id="472" name="Picture 5"/>
            <p:cNvPicPr>
              <a:picLocks noChangeAspect="1" noChangeArrowheads="1"/>
            </p:cNvPicPr>
            <p:nvPr>
              <p:custDataLst>
                <p:tags r:id="rId471"/>
              </p:custDataLst>
            </p:nvPr>
          </p:nvPicPr>
          <p:blipFill>
            <a:blip r:embed="rId573"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473" name="Picture 87" descr="C:\Users\mattha\AppData\Local\Microsoft\Windows\Temporary Internet Files\Content.IE5\DT8ZIQ2F\MC910216326[1].png"/>
            <p:cNvPicPr>
              <a:picLocks noChangeAspect="1" noChangeArrowheads="1"/>
            </p:cNvPicPr>
            <p:nvPr>
              <p:custDataLst>
                <p:tags r:id="rId472"/>
              </p:custDataLst>
            </p:nvPr>
          </p:nvPicPr>
          <p:blipFill>
            <a:blip r:embed="rId593" cstate="print">
              <a:duotone>
                <a:schemeClr val="accent5">
                  <a:shade val="45000"/>
                  <a:satMod val="135000"/>
                </a:schemeClr>
                <a:prstClr val="white"/>
              </a:duotone>
              <a:extLst>
                <a:ext uri="{BEBA8EAE-BF5A-486C-A8C5-ECC9F3942E4B}">
                  <a14:imgProps xmlns:a14="http://schemas.microsoft.com/office/drawing/2010/main">
                    <a14:imgLayer r:embed="rId59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474" name="Picture 4" descr="Data Chart Clip Art"/>
            <p:cNvPicPr>
              <a:picLocks noChangeAspect="1" noChangeArrowheads="1"/>
            </p:cNvPicPr>
            <p:nvPr>
              <p:custDataLst>
                <p:tags r:id="rId473"/>
              </p:custDataLst>
            </p:nvPr>
          </p:nvPicPr>
          <p:blipFill>
            <a:blip r:embed="rId595" cstate="print"/>
            <a:srcRect/>
            <a:stretch>
              <a:fillRect/>
            </a:stretch>
          </p:blipFill>
          <p:spPr bwMode="auto">
            <a:xfrm>
              <a:off x="3571875" y="2470595"/>
              <a:ext cx="247650" cy="236093"/>
            </a:xfrm>
            <a:prstGeom prst="rect">
              <a:avLst/>
            </a:prstGeom>
            <a:noFill/>
          </p:spPr>
        </p:pic>
        <p:grpSp>
          <p:nvGrpSpPr>
            <p:cNvPr id="16" name="Group 848"/>
            <p:cNvGrpSpPr/>
            <p:nvPr>
              <p:custDataLst>
                <p:tags r:id="rId474"/>
              </p:custDataLst>
            </p:nvPr>
          </p:nvGrpSpPr>
          <p:grpSpPr>
            <a:xfrm>
              <a:off x="2257425" y="3627438"/>
              <a:ext cx="274638" cy="333375"/>
              <a:chOff x="2257425" y="3627438"/>
              <a:chExt cx="274638" cy="333375"/>
            </a:xfrm>
          </p:grpSpPr>
          <p:sp>
            <p:nvSpPr>
              <p:cNvPr id="479"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0"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1"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2"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3"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4"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5"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6"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7"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8"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89"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0"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1"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2"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3"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4"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5"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6"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7"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8"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499"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0"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1"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2"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3"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4"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5"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6"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7"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8"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09"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10"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11"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476" name="Rectangle 5"/>
            <p:cNvSpPr>
              <a:spLocks noChangeArrowheads="1"/>
            </p:cNvSpPr>
            <p:nvPr>
              <p:custDataLst>
                <p:tags r:id="rId475"/>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ENABLING PARTNER ENVIRONMENT</a:t>
              </a:r>
            </a:p>
          </p:txBody>
        </p:sp>
        <p:pic>
          <p:nvPicPr>
            <p:cNvPr id="477" name="Picture 2" descr="https://encrypted-tbn1.google.com/images?q=tbn:ANd9GcQ2iDgw2b5ZvUXP-l4Qh60g3Q0yQgF2uKGxP2r60bac0hT5CFlVgw"/>
            <p:cNvPicPr>
              <a:picLocks noChangeAspect="1" noChangeArrowheads="1"/>
            </p:cNvPicPr>
            <p:nvPr>
              <p:custDataLst>
                <p:tags r:id="rId476"/>
              </p:custDataLst>
            </p:nvPr>
          </p:nvPicPr>
          <p:blipFill>
            <a:blip r:embed="rId596"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7">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478" name="Picture 3"/>
            <p:cNvPicPr>
              <a:picLocks noChangeAspect="1" noChangeArrowheads="1"/>
            </p:cNvPicPr>
            <p:nvPr>
              <p:custDataLst>
                <p:tags r:id="rId477"/>
              </p:custDataLst>
            </p:nvPr>
          </p:nvPicPr>
          <p:blipFill>
            <a:blip r:embed="rId598"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grpSp>
        <p:nvGrpSpPr>
          <p:cNvPr id="17" name="Group 527"/>
          <p:cNvGrpSpPr/>
          <p:nvPr/>
        </p:nvGrpSpPr>
        <p:grpSpPr>
          <a:xfrm>
            <a:off x="0" y="-743849"/>
            <a:ext cx="9126743" cy="7601849"/>
            <a:chOff x="0" y="-743849"/>
            <a:chExt cx="9126743" cy="7601849"/>
          </a:xfrm>
        </p:grpSpPr>
        <p:sp>
          <p:nvSpPr>
            <p:cNvPr id="529" name="Rectangle 5"/>
            <p:cNvSpPr>
              <a:spLocks noChangeArrowheads="1"/>
            </p:cNvSpPr>
            <p:nvPr>
              <p:custDataLst>
                <p:tags r:id="rId335"/>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smtClean="0">
                <a:solidFill>
                  <a:srgbClr val="FFFFFF"/>
                </a:solidFill>
                <a:latin typeface="Gill Sans MT" pitchFamily="34" charset="0"/>
                <a:cs typeface="Arial" charset="0"/>
              </a:endParaRPr>
            </a:p>
          </p:txBody>
        </p:sp>
        <p:sp>
          <p:nvSpPr>
            <p:cNvPr id="530" name="Rounded Rectangle 529"/>
            <p:cNvSpPr/>
            <p:nvPr>
              <p:custDataLst>
                <p:tags r:id="rId336"/>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531" name="Rectangle 5"/>
            <p:cNvSpPr>
              <a:spLocks noChangeArrowheads="1"/>
            </p:cNvSpPr>
            <p:nvPr>
              <p:custDataLst>
                <p:tags r:id="rId337"/>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GLOBAL</a:t>
              </a:r>
            </a:p>
          </p:txBody>
        </p:sp>
        <p:sp>
          <p:nvSpPr>
            <p:cNvPr id="532" name="Rectangle 5"/>
            <p:cNvSpPr>
              <a:spLocks noChangeArrowheads="1"/>
            </p:cNvSpPr>
            <p:nvPr>
              <p:custDataLst>
                <p:tags r:id="rId338"/>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NATIONAL</a:t>
              </a:r>
            </a:p>
          </p:txBody>
        </p:sp>
        <p:sp>
          <p:nvSpPr>
            <p:cNvPr id="533" name="Rectangle 5"/>
            <p:cNvSpPr>
              <a:spLocks noChangeArrowheads="1"/>
            </p:cNvSpPr>
            <p:nvPr>
              <p:custDataLst>
                <p:tags r:id="rId339"/>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LOCAL</a:t>
              </a:r>
            </a:p>
          </p:txBody>
        </p:sp>
        <p:sp>
          <p:nvSpPr>
            <p:cNvPr id="534" name="Rectangle 5"/>
            <p:cNvSpPr>
              <a:spLocks noChangeArrowheads="1"/>
            </p:cNvSpPr>
            <p:nvPr>
              <p:custDataLst>
                <p:tags r:id="rId340"/>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POLITICAL COMMITMENT</a:t>
              </a:r>
            </a:p>
          </p:txBody>
        </p:sp>
        <p:sp>
          <p:nvSpPr>
            <p:cNvPr id="535" name="Rectangle 5"/>
            <p:cNvSpPr>
              <a:spLocks noChangeArrowheads="1"/>
            </p:cNvSpPr>
            <p:nvPr>
              <p:custDataLst>
                <p:tags r:id="rId341"/>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FINANCING &amp; PRICING</a:t>
              </a:r>
            </a:p>
          </p:txBody>
        </p:sp>
        <p:sp>
          <p:nvSpPr>
            <p:cNvPr id="536" name="Chord 535"/>
            <p:cNvSpPr/>
            <p:nvPr>
              <p:custDataLst>
                <p:tags r:id="rId342"/>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37" name="Chord 536"/>
            <p:cNvSpPr/>
            <p:nvPr>
              <p:custDataLst>
                <p:tags r:id="rId343"/>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538" name="Chord 537"/>
            <p:cNvSpPr/>
            <p:nvPr>
              <p:custDataLst>
                <p:tags r:id="rId344"/>
              </p:custDataLst>
            </p:nvPr>
          </p:nvSpPr>
          <p:spPr bwMode="gray">
            <a:xfrm rot="17541648">
              <a:off x="3018183" y="182158"/>
              <a:ext cx="3373199" cy="3373199"/>
            </a:xfrm>
            <a:prstGeom prst="chord">
              <a:avLst/>
            </a:prstGeom>
            <a:solidFill>
              <a:srgbClr val="FFE56F"/>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39" name="Chord 538"/>
            <p:cNvSpPr/>
            <p:nvPr>
              <p:custDataLst>
                <p:tags r:id="rId345"/>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540" name="Straight Connector 539"/>
            <p:cNvCxnSpPr/>
            <p:nvPr>
              <p:custDataLst>
                <p:tags r:id="rId346"/>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542" name="Straight Connector 541"/>
            <p:cNvCxnSpPr/>
            <p:nvPr>
              <p:custDataLst>
                <p:tags r:id="rId347"/>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543" name="Rectangle 5"/>
            <p:cNvSpPr>
              <a:spLocks noChangeArrowheads="1"/>
            </p:cNvSpPr>
            <p:nvPr>
              <p:custDataLst>
                <p:tags r:id="rId348"/>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544" name="Rectangle 5"/>
            <p:cNvSpPr>
              <a:spLocks noChangeArrowheads="1"/>
            </p:cNvSpPr>
            <p:nvPr>
              <p:custDataLst>
                <p:tags r:id="rId349"/>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545" name="Rectangle 5"/>
            <p:cNvSpPr>
              <a:spLocks noChangeArrowheads="1"/>
            </p:cNvSpPr>
            <p:nvPr>
              <p:custDataLst>
                <p:tags r:id="rId350"/>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546" name="Straight Connector 545"/>
            <p:cNvCxnSpPr/>
            <p:nvPr>
              <p:custDataLst>
                <p:tags r:id="rId351"/>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547" name="Rectangle 5"/>
            <p:cNvSpPr>
              <a:spLocks noChangeArrowheads="1"/>
            </p:cNvSpPr>
            <p:nvPr>
              <p:custDataLst>
                <p:tags r:id="rId352"/>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fficient supplies at health posts</a:t>
              </a:r>
              <a:endParaRPr lang="en-US" sz="900" dirty="0">
                <a:solidFill>
                  <a:srgbClr val="59452A"/>
                </a:solidFill>
                <a:latin typeface="Gill Sans MT" pitchFamily="34" charset="0"/>
                <a:cs typeface="Arial" charset="0"/>
              </a:endParaRPr>
            </a:p>
          </p:txBody>
        </p:sp>
        <p:sp>
          <p:nvSpPr>
            <p:cNvPr id="548" name="Rectangle 5"/>
            <p:cNvSpPr>
              <a:spLocks noChangeArrowheads="1"/>
            </p:cNvSpPr>
            <p:nvPr>
              <p:custDataLst>
                <p:tags r:id="rId353"/>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549" name="Straight Connector 548"/>
            <p:cNvCxnSpPr/>
            <p:nvPr>
              <p:custDataLst>
                <p:tags r:id="rId354"/>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550" name="Straight Connector 549"/>
            <p:cNvCxnSpPr/>
            <p:nvPr>
              <p:custDataLst>
                <p:tags r:id="rId355"/>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551" name="Rectangle 5"/>
            <p:cNvSpPr>
              <a:spLocks noChangeArrowheads="1"/>
            </p:cNvSpPr>
            <p:nvPr>
              <p:custDataLst>
                <p:tags r:id="rId356"/>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552" name="Rectangle 5"/>
            <p:cNvSpPr>
              <a:spLocks noChangeArrowheads="1"/>
            </p:cNvSpPr>
            <p:nvPr>
              <p:custDataLst>
                <p:tags r:id="rId357"/>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553" name="Picture 5"/>
            <p:cNvPicPr>
              <a:picLocks noChangeAspect="1" noChangeArrowheads="1"/>
            </p:cNvPicPr>
            <p:nvPr>
              <p:custDataLst>
                <p:tags r:id="rId358"/>
              </p:custDataLst>
            </p:nvPr>
          </p:nvPicPr>
          <p:blipFill>
            <a:blip r:embed="rId573"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554" name="Rectangle 5"/>
            <p:cNvSpPr>
              <a:spLocks noChangeArrowheads="1"/>
            </p:cNvSpPr>
            <p:nvPr>
              <p:custDataLst>
                <p:tags r:id="rId359"/>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555" name="Straight Connector 554"/>
            <p:cNvCxnSpPr/>
            <p:nvPr>
              <p:custDataLst>
                <p:tags r:id="rId360"/>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556" name="Rectangle 5"/>
            <p:cNvSpPr>
              <a:spLocks noChangeArrowheads="1"/>
            </p:cNvSpPr>
            <p:nvPr>
              <p:custDataLst>
                <p:tags r:id="rId361"/>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557" name="Rectangle 5"/>
            <p:cNvSpPr>
              <a:spLocks noChangeArrowheads="1"/>
            </p:cNvSpPr>
            <p:nvPr>
              <p:custDataLst>
                <p:tags r:id="rId362"/>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558" name="Rectangle 5"/>
            <p:cNvSpPr>
              <a:spLocks noChangeArrowheads="1"/>
            </p:cNvSpPr>
            <p:nvPr>
              <p:custDataLst>
                <p:tags r:id="rId363"/>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18" name="Group 927"/>
            <p:cNvGrpSpPr/>
            <p:nvPr>
              <p:custDataLst>
                <p:tags r:id="rId364"/>
              </p:custDataLst>
            </p:nvPr>
          </p:nvGrpSpPr>
          <p:grpSpPr>
            <a:xfrm>
              <a:off x="2375776" y="2430017"/>
              <a:ext cx="532015" cy="444343"/>
              <a:chOff x="5085316" y="2082799"/>
              <a:chExt cx="777013" cy="639762"/>
            </a:xfrm>
          </p:grpSpPr>
          <p:sp>
            <p:nvSpPr>
              <p:cNvPr id="641" name="Freeform 25"/>
              <p:cNvSpPr>
                <a:spLocks noChangeAspect="1"/>
              </p:cNvSpPr>
              <p:nvPr>
                <p:custDataLst>
                  <p:tags r:id="rId412"/>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642" name="Picture 3"/>
              <p:cNvPicPr>
                <a:picLocks noChangeAspect="1" noChangeArrowheads="1"/>
              </p:cNvPicPr>
              <p:nvPr/>
            </p:nvPicPr>
            <p:blipFill>
              <a:blip r:embed="rId574"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643" name="Picture 3"/>
              <p:cNvPicPr>
                <a:picLocks noChangeAspect="1" noChangeArrowheads="1"/>
              </p:cNvPicPr>
              <p:nvPr/>
            </p:nvPicPr>
            <p:blipFill>
              <a:blip r:embed="rId574"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644" name="Picture 3"/>
              <p:cNvPicPr>
                <a:picLocks noChangeAspect="1" noChangeArrowheads="1"/>
              </p:cNvPicPr>
              <p:nvPr/>
            </p:nvPicPr>
            <p:blipFill>
              <a:blip r:embed="rId574"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560" name="Rectangle 5"/>
            <p:cNvSpPr>
              <a:spLocks noChangeArrowheads="1"/>
            </p:cNvSpPr>
            <p:nvPr>
              <p:custDataLst>
                <p:tags r:id="rId365"/>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561" name="Rectangle 5"/>
            <p:cNvSpPr>
              <a:spLocks noChangeArrowheads="1"/>
            </p:cNvSpPr>
            <p:nvPr>
              <p:custDataLst>
                <p:tags r:id="rId366"/>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562" name="Rectangle 5"/>
            <p:cNvSpPr>
              <a:spLocks noChangeArrowheads="1"/>
            </p:cNvSpPr>
            <p:nvPr>
              <p:custDataLst>
                <p:tags r:id="rId367"/>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563" name="Rectangle 5"/>
            <p:cNvSpPr>
              <a:spLocks noChangeArrowheads="1"/>
            </p:cNvSpPr>
            <p:nvPr>
              <p:custDataLst>
                <p:tags r:id="rId368"/>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Data to guide national decision making</a:t>
              </a:r>
            </a:p>
          </p:txBody>
        </p:sp>
        <p:pic>
          <p:nvPicPr>
            <p:cNvPr id="564" name="Picture 21"/>
            <p:cNvPicPr>
              <a:picLocks noChangeAspect="1" noChangeArrowheads="1"/>
            </p:cNvPicPr>
            <p:nvPr>
              <p:custDataLst>
                <p:tags r:id="rId369"/>
              </p:custDataLst>
            </p:nvPr>
          </p:nvPicPr>
          <p:blipFill>
            <a:blip r:embed="rId575"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566" name="Rectangle 5"/>
            <p:cNvSpPr>
              <a:spLocks noChangeArrowheads="1"/>
            </p:cNvSpPr>
            <p:nvPr>
              <p:custDataLst>
                <p:tags r:id="rId370"/>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567" name="Picture 5"/>
            <p:cNvPicPr>
              <a:picLocks noChangeAspect="1" noChangeArrowheads="1"/>
            </p:cNvPicPr>
            <p:nvPr>
              <p:custDataLst>
                <p:tags r:id="rId371"/>
              </p:custDataLst>
            </p:nvPr>
          </p:nvPicPr>
          <p:blipFill>
            <a:blip r:embed="rId576"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568" name="Straight Connector 567"/>
            <p:cNvCxnSpPr/>
            <p:nvPr>
              <p:custDataLst>
                <p:tags r:id="rId372"/>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569" name="Rectangle 5"/>
            <p:cNvSpPr>
              <a:spLocks noChangeArrowheads="1"/>
            </p:cNvSpPr>
            <p:nvPr>
              <p:custDataLst>
                <p:tags r:id="rId373"/>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570" name="Rectangle 5"/>
            <p:cNvSpPr>
              <a:spLocks noChangeArrowheads="1"/>
            </p:cNvSpPr>
            <p:nvPr>
              <p:custDataLst>
                <p:tags r:id="rId374"/>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19" name="Group 435"/>
            <p:cNvGrpSpPr/>
            <p:nvPr>
              <p:custDataLst>
                <p:tags r:id="rId375"/>
              </p:custDataLst>
            </p:nvPr>
          </p:nvGrpSpPr>
          <p:grpSpPr>
            <a:xfrm>
              <a:off x="5851932" y="2523591"/>
              <a:ext cx="249647" cy="251917"/>
              <a:chOff x="7230319" y="326252"/>
              <a:chExt cx="506784" cy="510648"/>
            </a:xfrm>
          </p:grpSpPr>
          <p:pic>
            <p:nvPicPr>
              <p:cNvPr id="635" name="Picture 5"/>
              <p:cNvPicPr>
                <a:picLocks noChangeAspect="1" noChangeArrowheads="1"/>
              </p:cNvPicPr>
              <p:nvPr>
                <p:custDataLst>
                  <p:tags r:id="rId406"/>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636" name="Picture 17"/>
              <p:cNvPicPr>
                <a:picLocks noChangeAspect="1" noChangeArrowheads="1"/>
              </p:cNvPicPr>
              <p:nvPr>
                <p:custDataLst>
                  <p:tags r:id="rId407"/>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637" name="Picture 17"/>
              <p:cNvPicPr>
                <a:picLocks noChangeAspect="1" noChangeArrowheads="1"/>
              </p:cNvPicPr>
              <p:nvPr>
                <p:custDataLst>
                  <p:tags r:id="rId408"/>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638" name="Picture 5"/>
              <p:cNvPicPr>
                <a:picLocks noChangeAspect="1" noChangeArrowheads="1"/>
              </p:cNvPicPr>
              <p:nvPr>
                <p:custDataLst>
                  <p:tags r:id="rId409"/>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639" name="Picture 17"/>
              <p:cNvPicPr>
                <a:picLocks noChangeAspect="1" noChangeArrowheads="1"/>
              </p:cNvPicPr>
              <p:nvPr>
                <p:custDataLst>
                  <p:tags r:id="rId410"/>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640" name="Picture 5"/>
              <p:cNvPicPr>
                <a:picLocks noChangeAspect="1" noChangeArrowheads="1"/>
              </p:cNvPicPr>
              <p:nvPr>
                <p:custDataLst>
                  <p:tags r:id="rId411"/>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572" name="Rectangle 5"/>
            <p:cNvSpPr>
              <a:spLocks noChangeArrowheads="1"/>
            </p:cNvSpPr>
            <p:nvPr>
              <p:custDataLst>
                <p:tags r:id="rId376"/>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573" name="Picture 7" descr="C:\Users\mattha\AppData\Local\Microsoft\Windows\Temporary Internet Files\Content.IE5\A0YJT0Y2\MC900368410[1].wmf"/>
            <p:cNvPicPr>
              <a:picLocks noChangeAspect="1" noChangeArrowheads="1"/>
            </p:cNvPicPr>
            <p:nvPr>
              <p:custDataLst>
                <p:tags r:id="rId377"/>
              </p:custDataLst>
            </p:nvPr>
          </p:nvPicPr>
          <p:blipFill>
            <a:blip r:embed="rId578"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574" name="Picture 9" descr="C:\Users\mattha\AppData\Local\Microsoft\Windows\Temporary Internet Files\Content.IE5\WZUD8JML\MC900286861[1].wmf"/>
            <p:cNvPicPr>
              <a:picLocks noChangeAspect="1" noChangeArrowheads="1"/>
            </p:cNvPicPr>
            <p:nvPr>
              <p:custDataLst>
                <p:tags r:id="rId378"/>
              </p:custDataLst>
            </p:nvPr>
          </p:nvPicPr>
          <p:blipFill>
            <a:blip r:embed="rId579"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575" name="Picture 15" descr="C:\Users\mattha\AppData\Local\Microsoft\Windows\Temporary Internet Files\Content.IE5\6RMOFZA8\MC900434820[1].png"/>
            <p:cNvPicPr>
              <a:picLocks noChangeAspect="1" noChangeArrowheads="1"/>
            </p:cNvPicPr>
            <p:nvPr>
              <p:custDataLst>
                <p:tags r:id="rId379"/>
              </p:custDataLst>
            </p:nvPr>
          </p:nvPicPr>
          <p:blipFill>
            <a:blip r:embed="rId580" cstate="print">
              <a:duotone>
                <a:schemeClr val="accent4">
                  <a:shade val="45000"/>
                  <a:satMod val="135000"/>
                </a:schemeClr>
                <a:prstClr val="white"/>
              </a:duotone>
              <a:extLst>
                <a:ext uri="{BEBA8EAE-BF5A-486C-A8C5-ECC9F3942E4B}">
                  <a14:imgProps xmlns:a14="http://schemas.microsoft.com/office/drawing/2010/main">
                    <a14:imgLayer r:embed="rId581">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576" name="Rectangle 5"/>
            <p:cNvSpPr>
              <a:spLocks noChangeArrowheads="1"/>
            </p:cNvSpPr>
            <p:nvPr>
              <p:custDataLst>
                <p:tags r:id="rId380"/>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a:t>
              </a:r>
              <a:r>
                <a:rPr lang="en-US" sz="900" dirty="0" smtClean="0">
                  <a:solidFill>
                    <a:srgbClr val="59452A"/>
                  </a:solidFill>
                  <a:latin typeface="Gill Sans MT" pitchFamily="34" charset="0"/>
                  <a:cs typeface="Arial" charset="0"/>
                </a:rPr>
                <a:t>ollection &amp; use of data</a:t>
              </a:r>
              <a:endParaRPr lang="en-US" sz="800" dirty="0">
                <a:solidFill>
                  <a:srgbClr val="59452A"/>
                </a:solidFill>
                <a:latin typeface="Gill Sans MT" pitchFamily="34" charset="0"/>
                <a:cs typeface="Arial" charset="0"/>
              </a:endParaRPr>
            </a:p>
          </p:txBody>
        </p:sp>
        <p:pic>
          <p:nvPicPr>
            <p:cNvPr id="577" name="Picture 27" descr="C:\Users\mattha\AppData\Local\Microsoft\Windows\Temporary Internet Files\Content.IE5\DT8ZIQ2F\MC900434829[1].png"/>
            <p:cNvPicPr>
              <a:picLocks noChangeAspect="1" noChangeArrowheads="1"/>
            </p:cNvPicPr>
            <p:nvPr>
              <p:custDataLst>
                <p:tags r:id="rId381"/>
              </p:custDataLst>
            </p:nvPr>
          </p:nvPicPr>
          <p:blipFill>
            <a:blip r:embed="rId582" cstate="print">
              <a:extLst>
                <a:ext uri="{BEBA8EAE-BF5A-486C-A8C5-ECC9F3942E4B}">
                  <a14:imgProps xmlns:a14="http://schemas.microsoft.com/office/drawing/2010/main">
                    <a14:imgLayer r:embed="rId58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578" name="Picture 35" descr="C:\Users\mattha\AppData\Local\Microsoft\Windows\Temporary Internet Files\Content.IE5\GIPOTG0L\MC900389208[1].wmf"/>
            <p:cNvPicPr>
              <a:picLocks noChangeAspect="1" noChangeArrowheads="1"/>
            </p:cNvPicPr>
            <p:nvPr>
              <p:custDataLst>
                <p:tags r:id="rId382"/>
              </p:custDataLst>
            </p:nvPr>
          </p:nvPicPr>
          <p:blipFill>
            <a:blip r:embed="rId584"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579" name="Picture 5"/>
            <p:cNvPicPr>
              <a:picLocks noChangeAspect="1" noChangeArrowheads="1"/>
            </p:cNvPicPr>
            <p:nvPr>
              <p:custDataLst>
                <p:tags r:id="rId383"/>
              </p:custDataLst>
            </p:nvPr>
          </p:nvPicPr>
          <p:blipFill>
            <a:blip r:embed="rId573"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580" name="Picture 48" descr="C:\Users\mattha\AppData\Local\Microsoft\Windows\Temporary Internet Files\Content.IE5\2H1X03YN\MC900431595[1].png"/>
            <p:cNvPicPr>
              <a:picLocks noChangeAspect="1" noChangeArrowheads="1"/>
            </p:cNvPicPr>
            <p:nvPr>
              <p:custDataLst>
                <p:tags r:id="rId384"/>
              </p:custDataLst>
            </p:nvPr>
          </p:nvPicPr>
          <p:blipFill>
            <a:blip r:embed="rId585" cstate="print">
              <a:duotone>
                <a:prstClr val="black"/>
                <a:schemeClr val="accent4">
                  <a:tint val="45000"/>
                  <a:satMod val="400000"/>
                </a:schemeClr>
              </a:duotone>
              <a:extLst>
                <a:ext uri="{BEBA8EAE-BF5A-486C-A8C5-ECC9F3942E4B}">
                  <a14:imgProps xmlns:a14="http://schemas.microsoft.com/office/drawing/2010/main">
                    <a14:imgLayer r:embed="rId58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581" name="Picture 50" descr="C:\Users\mattha\AppData\Local\Microsoft\Windows\Temporary Internet Files\Content.IE5\DT8ZIQ2F\MC900389384[1].wmf"/>
            <p:cNvPicPr>
              <a:picLocks noChangeAspect="1" noChangeArrowheads="1"/>
            </p:cNvPicPr>
            <p:nvPr>
              <p:custDataLst>
                <p:tags r:id="rId385"/>
              </p:custDataLst>
            </p:nvPr>
          </p:nvPicPr>
          <p:blipFill>
            <a:blip r:embed="rId58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582" name="Picture 53" descr="C:\Users\mattha\AppData\Local\Microsoft\Windows\Temporary Internet Files\Content.IE5\GIPOTG0L\MC900039023[1].wmf"/>
            <p:cNvPicPr>
              <a:picLocks noChangeAspect="1" noChangeArrowheads="1"/>
            </p:cNvPicPr>
            <p:nvPr>
              <p:custDataLst>
                <p:tags r:id="rId386"/>
              </p:custDataLst>
            </p:nvPr>
          </p:nvPicPr>
          <p:blipFill>
            <a:blip r:embed="rId588"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583" name="Picture 54" descr="C:\Users\mattha\AppData\Local\Microsoft\Windows\Temporary Internet Files\Content.IE5\GIPOTG0L\MC900431584[1].png"/>
            <p:cNvPicPr>
              <a:picLocks noChangeAspect="1" noChangeArrowheads="1"/>
            </p:cNvPicPr>
            <p:nvPr>
              <p:custDataLst>
                <p:tags r:id="rId387"/>
              </p:custDataLst>
            </p:nvPr>
          </p:nvPicPr>
          <p:blipFill>
            <a:blip r:embed="rId589" cstate="print">
              <a:extLst>
                <a:ext uri="{BEBA8EAE-BF5A-486C-A8C5-ECC9F3942E4B}">
                  <a14:imgProps xmlns:a14="http://schemas.microsoft.com/office/drawing/2010/main">
                    <a14:imgLayer r:embed="rId590">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584" name="Picture 57" descr="C:\Users\mattha\AppData\Local\Microsoft\Windows\Temporary Internet Files\Content.IE5\GIPOTG0L\MC900412770[1].wmf"/>
            <p:cNvPicPr>
              <a:picLocks noChangeAspect="1" noChangeArrowheads="1"/>
            </p:cNvPicPr>
            <p:nvPr>
              <p:custDataLst>
                <p:tags r:id="rId388"/>
              </p:custDataLst>
            </p:nvPr>
          </p:nvPicPr>
          <p:blipFill>
            <a:blip r:embed="rId591"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585" name="Picture 66" descr="C:\Users\mattha\AppData\Local\Microsoft\Windows\Temporary Internet Files\Content.IE5\GIPOTG0L\MC900442092[1].wmf"/>
            <p:cNvPicPr>
              <a:picLocks noChangeAspect="1" noChangeArrowheads="1"/>
            </p:cNvPicPr>
            <p:nvPr>
              <p:custDataLst>
                <p:tags r:id="rId389"/>
              </p:custDataLst>
            </p:nvPr>
          </p:nvPicPr>
          <p:blipFill>
            <a:blip r:embed="rId592"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440"/>
            <p:cNvGrpSpPr/>
            <p:nvPr>
              <p:custDataLst>
                <p:tags r:id="rId390"/>
              </p:custDataLst>
            </p:nvPr>
          </p:nvGrpSpPr>
          <p:grpSpPr>
            <a:xfrm>
              <a:off x="5244368" y="2613724"/>
              <a:ext cx="249647" cy="251917"/>
              <a:chOff x="7230319" y="326252"/>
              <a:chExt cx="506784" cy="510648"/>
            </a:xfrm>
          </p:grpSpPr>
          <p:pic>
            <p:nvPicPr>
              <p:cNvPr id="629" name="Picture 5"/>
              <p:cNvPicPr>
                <a:picLocks noChangeAspect="1" noChangeArrowheads="1"/>
              </p:cNvPicPr>
              <p:nvPr>
                <p:custDataLst>
                  <p:tags r:id="rId400"/>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630" name="Picture 17"/>
              <p:cNvPicPr>
                <a:picLocks noChangeAspect="1" noChangeArrowheads="1"/>
              </p:cNvPicPr>
              <p:nvPr>
                <p:custDataLst>
                  <p:tags r:id="rId401"/>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631" name="Picture 17"/>
              <p:cNvPicPr>
                <a:picLocks noChangeAspect="1" noChangeArrowheads="1"/>
              </p:cNvPicPr>
              <p:nvPr>
                <p:custDataLst>
                  <p:tags r:id="rId402"/>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632" name="Picture 5"/>
              <p:cNvPicPr>
                <a:picLocks noChangeAspect="1" noChangeArrowheads="1"/>
              </p:cNvPicPr>
              <p:nvPr>
                <p:custDataLst>
                  <p:tags r:id="rId403"/>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633" name="Picture 17"/>
              <p:cNvPicPr>
                <a:picLocks noChangeAspect="1" noChangeArrowheads="1"/>
              </p:cNvPicPr>
              <p:nvPr>
                <p:custDataLst>
                  <p:tags r:id="rId404"/>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634" name="Picture 5"/>
              <p:cNvPicPr>
                <a:picLocks noChangeAspect="1" noChangeArrowheads="1"/>
              </p:cNvPicPr>
              <p:nvPr>
                <p:custDataLst>
                  <p:tags r:id="rId405"/>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587" name="Rectangle 5"/>
            <p:cNvSpPr>
              <a:spLocks noChangeArrowheads="1"/>
            </p:cNvSpPr>
            <p:nvPr>
              <p:custDataLst>
                <p:tags r:id="rId391"/>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588" name="TextBox 587"/>
            <p:cNvSpPr txBox="1"/>
            <p:nvPr>
              <p:custDataLst>
                <p:tags r:id="rId392"/>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smtClean="0">
                  <a:solidFill>
                    <a:srgbClr val="59452A"/>
                  </a:solidFill>
                  <a:latin typeface="Gill Sans MT" pitchFamily="34" charset="0"/>
                  <a:cs typeface="Arial" pitchFamily="34" charset="0"/>
                </a:rPr>
                <a:t>--------------------     Supply chain data      -------------------</a:t>
              </a:r>
            </a:p>
          </p:txBody>
        </p:sp>
        <p:pic>
          <p:nvPicPr>
            <p:cNvPr id="589" name="Picture 5"/>
            <p:cNvPicPr>
              <a:picLocks noChangeAspect="1" noChangeArrowheads="1"/>
            </p:cNvPicPr>
            <p:nvPr>
              <p:custDataLst>
                <p:tags r:id="rId393"/>
              </p:custDataLst>
            </p:nvPr>
          </p:nvPicPr>
          <p:blipFill>
            <a:blip r:embed="rId573"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590" name="Picture 87" descr="C:\Users\mattha\AppData\Local\Microsoft\Windows\Temporary Internet Files\Content.IE5\DT8ZIQ2F\MC910216326[1].png"/>
            <p:cNvPicPr>
              <a:picLocks noChangeAspect="1" noChangeArrowheads="1"/>
            </p:cNvPicPr>
            <p:nvPr>
              <p:custDataLst>
                <p:tags r:id="rId394"/>
              </p:custDataLst>
            </p:nvPr>
          </p:nvPicPr>
          <p:blipFill>
            <a:blip r:embed="rId593" cstate="print">
              <a:duotone>
                <a:schemeClr val="accent5">
                  <a:shade val="45000"/>
                  <a:satMod val="135000"/>
                </a:schemeClr>
                <a:prstClr val="white"/>
              </a:duotone>
              <a:extLst>
                <a:ext uri="{BEBA8EAE-BF5A-486C-A8C5-ECC9F3942E4B}">
                  <a14:imgProps xmlns:a14="http://schemas.microsoft.com/office/drawing/2010/main">
                    <a14:imgLayer r:embed="rId59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591" name="Picture 4" descr="Data Chart Clip Art"/>
            <p:cNvPicPr>
              <a:picLocks noChangeAspect="1" noChangeArrowheads="1"/>
            </p:cNvPicPr>
            <p:nvPr>
              <p:custDataLst>
                <p:tags r:id="rId395"/>
              </p:custDataLst>
            </p:nvPr>
          </p:nvPicPr>
          <p:blipFill>
            <a:blip r:embed="rId595" cstate="print"/>
            <a:srcRect/>
            <a:stretch>
              <a:fillRect/>
            </a:stretch>
          </p:blipFill>
          <p:spPr bwMode="auto">
            <a:xfrm>
              <a:off x="3571875" y="2470595"/>
              <a:ext cx="247650" cy="236093"/>
            </a:xfrm>
            <a:prstGeom prst="rect">
              <a:avLst/>
            </a:prstGeom>
            <a:noFill/>
          </p:spPr>
        </p:pic>
        <p:grpSp>
          <p:nvGrpSpPr>
            <p:cNvPr id="21" name="Group 848"/>
            <p:cNvGrpSpPr/>
            <p:nvPr>
              <p:custDataLst>
                <p:tags r:id="rId396"/>
              </p:custDataLst>
            </p:nvPr>
          </p:nvGrpSpPr>
          <p:grpSpPr>
            <a:xfrm>
              <a:off x="2257425" y="3627438"/>
              <a:ext cx="274638" cy="333375"/>
              <a:chOff x="2257425" y="3627438"/>
              <a:chExt cx="274638" cy="333375"/>
            </a:xfrm>
          </p:grpSpPr>
          <p:sp>
            <p:nvSpPr>
              <p:cNvPr id="596"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97"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98"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599"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0"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1"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2"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3"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4"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5"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6"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7"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8"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09"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0"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1"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2"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3"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4"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5"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6"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7"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8"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19"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0"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1"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2"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3"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4"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5"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6"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7"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28"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593" name="Rectangle 5"/>
            <p:cNvSpPr>
              <a:spLocks noChangeArrowheads="1"/>
            </p:cNvSpPr>
            <p:nvPr>
              <p:custDataLst>
                <p:tags r:id="rId397"/>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ENABLING PARTNER ENVIRONMENT</a:t>
              </a:r>
            </a:p>
          </p:txBody>
        </p:sp>
        <p:pic>
          <p:nvPicPr>
            <p:cNvPr id="594" name="Picture 2" descr="https://encrypted-tbn1.google.com/images?q=tbn:ANd9GcQ2iDgw2b5ZvUXP-l4Qh60g3Q0yQgF2uKGxP2r60bac0hT5CFlVgw"/>
            <p:cNvPicPr>
              <a:picLocks noChangeAspect="1" noChangeArrowheads="1"/>
            </p:cNvPicPr>
            <p:nvPr>
              <p:custDataLst>
                <p:tags r:id="rId398"/>
              </p:custDataLst>
            </p:nvPr>
          </p:nvPicPr>
          <p:blipFill>
            <a:blip r:embed="rId596"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7">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595" name="Picture 3"/>
            <p:cNvPicPr>
              <a:picLocks noChangeAspect="1" noChangeArrowheads="1"/>
            </p:cNvPicPr>
            <p:nvPr>
              <p:custDataLst>
                <p:tags r:id="rId399"/>
              </p:custDataLst>
            </p:nvPr>
          </p:nvPicPr>
          <p:blipFill>
            <a:blip r:embed="rId598"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grpSp>
        <p:nvGrpSpPr>
          <p:cNvPr id="22" name="Group 644"/>
          <p:cNvGrpSpPr/>
          <p:nvPr/>
        </p:nvGrpSpPr>
        <p:grpSpPr>
          <a:xfrm>
            <a:off x="0" y="-743849"/>
            <a:ext cx="9126743" cy="7601849"/>
            <a:chOff x="0" y="-743849"/>
            <a:chExt cx="9126743" cy="7601849"/>
          </a:xfrm>
        </p:grpSpPr>
        <p:sp>
          <p:nvSpPr>
            <p:cNvPr id="646" name="Rectangle 5"/>
            <p:cNvSpPr>
              <a:spLocks noChangeArrowheads="1"/>
            </p:cNvSpPr>
            <p:nvPr>
              <p:custDataLst>
                <p:tags r:id="rId257"/>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smtClean="0">
                <a:solidFill>
                  <a:srgbClr val="FFFFFF"/>
                </a:solidFill>
                <a:latin typeface="Gill Sans MT" pitchFamily="34" charset="0"/>
                <a:cs typeface="Arial" charset="0"/>
              </a:endParaRPr>
            </a:p>
          </p:txBody>
        </p:sp>
        <p:sp>
          <p:nvSpPr>
            <p:cNvPr id="647" name="Rounded Rectangle 646"/>
            <p:cNvSpPr/>
            <p:nvPr>
              <p:custDataLst>
                <p:tags r:id="rId258"/>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648" name="Rectangle 5"/>
            <p:cNvSpPr>
              <a:spLocks noChangeArrowheads="1"/>
            </p:cNvSpPr>
            <p:nvPr>
              <p:custDataLst>
                <p:tags r:id="rId259"/>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GLOBAL</a:t>
              </a:r>
            </a:p>
          </p:txBody>
        </p:sp>
        <p:sp>
          <p:nvSpPr>
            <p:cNvPr id="649" name="Rectangle 5"/>
            <p:cNvSpPr>
              <a:spLocks noChangeArrowheads="1"/>
            </p:cNvSpPr>
            <p:nvPr>
              <p:custDataLst>
                <p:tags r:id="rId260"/>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NATIONAL</a:t>
              </a:r>
            </a:p>
          </p:txBody>
        </p:sp>
        <p:sp>
          <p:nvSpPr>
            <p:cNvPr id="650" name="Rectangle 5"/>
            <p:cNvSpPr>
              <a:spLocks noChangeArrowheads="1"/>
            </p:cNvSpPr>
            <p:nvPr>
              <p:custDataLst>
                <p:tags r:id="rId261"/>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LOCAL</a:t>
              </a:r>
            </a:p>
          </p:txBody>
        </p:sp>
        <p:sp>
          <p:nvSpPr>
            <p:cNvPr id="651" name="Rectangle 5"/>
            <p:cNvSpPr>
              <a:spLocks noChangeArrowheads="1"/>
            </p:cNvSpPr>
            <p:nvPr>
              <p:custDataLst>
                <p:tags r:id="rId262"/>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POLITICAL COMMITMENT</a:t>
              </a:r>
            </a:p>
          </p:txBody>
        </p:sp>
        <p:sp>
          <p:nvSpPr>
            <p:cNvPr id="652" name="Rectangle 5"/>
            <p:cNvSpPr>
              <a:spLocks noChangeArrowheads="1"/>
            </p:cNvSpPr>
            <p:nvPr>
              <p:custDataLst>
                <p:tags r:id="rId263"/>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FINANCING &amp; PRICING</a:t>
              </a:r>
            </a:p>
          </p:txBody>
        </p:sp>
        <p:sp>
          <p:nvSpPr>
            <p:cNvPr id="653" name="Chord 652"/>
            <p:cNvSpPr/>
            <p:nvPr>
              <p:custDataLst>
                <p:tags r:id="rId264"/>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54" name="Chord 653"/>
            <p:cNvSpPr/>
            <p:nvPr>
              <p:custDataLst>
                <p:tags r:id="rId265"/>
              </p:custDataLst>
            </p:nvPr>
          </p:nvSpPr>
          <p:spPr bwMode="gray">
            <a:xfrm rot="17541648">
              <a:off x="2183927" y="-337811"/>
              <a:ext cx="5041711" cy="5041711"/>
            </a:xfrm>
            <a:prstGeom prst="chord">
              <a:avLst>
                <a:gd name="adj1" fmla="val 2690809"/>
                <a:gd name="adj2" fmla="val 16200000"/>
              </a:avLst>
            </a:prstGeom>
            <a:solidFill>
              <a:srgbClr val="FFE56F"/>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655" name="Chord 654"/>
            <p:cNvSpPr/>
            <p:nvPr>
              <p:custDataLst>
                <p:tags r:id="rId266"/>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656" name="Chord 655"/>
            <p:cNvSpPr/>
            <p:nvPr>
              <p:custDataLst>
                <p:tags r:id="rId267"/>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657" name="Straight Connector 656"/>
            <p:cNvCxnSpPr/>
            <p:nvPr>
              <p:custDataLst>
                <p:tags r:id="rId268"/>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658" name="Straight Connector 657"/>
            <p:cNvCxnSpPr/>
            <p:nvPr>
              <p:custDataLst>
                <p:tags r:id="rId269"/>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659" name="Rectangle 5"/>
            <p:cNvSpPr>
              <a:spLocks noChangeArrowheads="1"/>
            </p:cNvSpPr>
            <p:nvPr>
              <p:custDataLst>
                <p:tags r:id="rId270"/>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660" name="Rectangle 5"/>
            <p:cNvSpPr>
              <a:spLocks noChangeArrowheads="1"/>
            </p:cNvSpPr>
            <p:nvPr>
              <p:custDataLst>
                <p:tags r:id="rId271"/>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661" name="Rectangle 5"/>
            <p:cNvSpPr>
              <a:spLocks noChangeArrowheads="1"/>
            </p:cNvSpPr>
            <p:nvPr>
              <p:custDataLst>
                <p:tags r:id="rId272"/>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662" name="Straight Connector 661"/>
            <p:cNvCxnSpPr/>
            <p:nvPr>
              <p:custDataLst>
                <p:tags r:id="rId273"/>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663" name="Rectangle 5"/>
            <p:cNvSpPr>
              <a:spLocks noChangeArrowheads="1"/>
            </p:cNvSpPr>
            <p:nvPr>
              <p:custDataLst>
                <p:tags r:id="rId274"/>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fficient supplies at health posts</a:t>
              </a:r>
              <a:endParaRPr lang="en-US" sz="900" dirty="0">
                <a:solidFill>
                  <a:srgbClr val="59452A"/>
                </a:solidFill>
                <a:latin typeface="Gill Sans MT" pitchFamily="34" charset="0"/>
                <a:cs typeface="Arial" charset="0"/>
              </a:endParaRPr>
            </a:p>
          </p:txBody>
        </p:sp>
        <p:sp>
          <p:nvSpPr>
            <p:cNvPr id="664" name="Rectangle 5"/>
            <p:cNvSpPr>
              <a:spLocks noChangeArrowheads="1"/>
            </p:cNvSpPr>
            <p:nvPr>
              <p:custDataLst>
                <p:tags r:id="rId275"/>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665" name="Straight Connector 664"/>
            <p:cNvCxnSpPr/>
            <p:nvPr>
              <p:custDataLst>
                <p:tags r:id="rId276"/>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666" name="Straight Connector 665"/>
            <p:cNvCxnSpPr/>
            <p:nvPr>
              <p:custDataLst>
                <p:tags r:id="rId277"/>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667" name="Rectangle 5"/>
            <p:cNvSpPr>
              <a:spLocks noChangeArrowheads="1"/>
            </p:cNvSpPr>
            <p:nvPr>
              <p:custDataLst>
                <p:tags r:id="rId278"/>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668" name="Rectangle 5"/>
            <p:cNvSpPr>
              <a:spLocks noChangeArrowheads="1"/>
            </p:cNvSpPr>
            <p:nvPr>
              <p:custDataLst>
                <p:tags r:id="rId279"/>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669" name="Picture 5"/>
            <p:cNvPicPr>
              <a:picLocks noChangeAspect="1" noChangeArrowheads="1"/>
            </p:cNvPicPr>
            <p:nvPr>
              <p:custDataLst>
                <p:tags r:id="rId280"/>
              </p:custDataLst>
            </p:nvPr>
          </p:nvPicPr>
          <p:blipFill>
            <a:blip r:embed="rId573"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670" name="Rectangle 5"/>
            <p:cNvSpPr>
              <a:spLocks noChangeArrowheads="1"/>
            </p:cNvSpPr>
            <p:nvPr>
              <p:custDataLst>
                <p:tags r:id="rId281"/>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671" name="Straight Connector 670"/>
            <p:cNvCxnSpPr/>
            <p:nvPr>
              <p:custDataLst>
                <p:tags r:id="rId282"/>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672" name="Rectangle 5"/>
            <p:cNvSpPr>
              <a:spLocks noChangeArrowheads="1"/>
            </p:cNvSpPr>
            <p:nvPr>
              <p:custDataLst>
                <p:tags r:id="rId283"/>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673" name="Rectangle 5"/>
            <p:cNvSpPr>
              <a:spLocks noChangeArrowheads="1"/>
            </p:cNvSpPr>
            <p:nvPr>
              <p:custDataLst>
                <p:tags r:id="rId284"/>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674" name="Rectangle 5"/>
            <p:cNvSpPr>
              <a:spLocks noChangeArrowheads="1"/>
            </p:cNvSpPr>
            <p:nvPr>
              <p:custDataLst>
                <p:tags r:id="rId285"/>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23" name="Group 927"/>
            <p:cNvGrpSpPr/>
            <p:nvPr>
              <p:custDataLst>
                <p:tags r:id="rId286"/>
              </p:custDataLst>
            </p:nvPr>
          </p:nvGrpSpPr>
          <p:grpSpPr>
            <a:xfrm>
              <a:off x="2375776" y="2430017"/>
              <a:ext cx="532015" cy="444343"/>
              <a:chOff x="5085316" y="2082799"/>
              <a:chExt cx="777013" cy="639762"/>
            </a:xfrm>
          </p:grpSpPr>
          <p:sp>
            <p:nvSpPr>
              <p:cNvPr id="758" name="Freeform 25"/>
              <p:cNvSpPr>
                <a:spLocks noChangeAspect="1"/>
              </p:cNvSpPr>
              <p:nvPr>
                <p:custDataLst>
                  <p:tags r:id="rId334"/>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759" name="Picture 3"/>
              <p:cNvPicPr>
                <a:picLocks noChangeAspect="1" noChangeArrowheads="1"/>
              </p:cNvPicPr>
              <p:nvPr/>
            </p:nvPicPr>
            <p:blipFill>
              <a:blip r:embed="rId574"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760" name="Picture 3"/>
              <p:cNvPicPr>
                <a:picLocks noChangeAspect="1" noChangeArrowheads="1"/>
              </p:cNvPicPr>
              <p:nvPr/>
            </p:nvPicPr>
            <p:blipFill>
              <a:blip r:embed="rId574"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761" name="Picture 3"/>
              <p:cNvPicPr>
                <a:picLocks noChangeAspect="1" noChangeArrowheads="1"/>
              </p:cNvPicPr>
              <p:nvPr/>
            </p:nvPicPr>
            <p:blipFill>
              <a:blip r:embed="rId574"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676" name="Rectangle 5"/>
            <p:cNvSpPr>
              <a:spLocks noChangeArrowheads="1"/>
            </p:cNvSpPr>
            <p:nvPr>
              <p:custDataLst>
                <p:tags r:id="rId287"/>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677" name="Rectangle 5"/>
            <p:cNvSpPr>
              <a:spLocks noChangeArrowheads="1"/>
            </p:cNvSpPr>
            <p:nvPr>
              <p:custDataLst>
                <p:tags r:id="rId288"/>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678" name="Rectangle 5"/>
            <p:cNvSpPr>
              <a:spLocks noChangeArrowheads="1"/>
            </p:cNvSpPr>
            <p:nvPr>
              <p:custDataLst>
                <p:tags r:id="rId289"/>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679" name="Rectangle 5"/>
            <p:cNvSpPr>
              <a:spLocks noChangeArrowheads="1"/>
            </p:cNvSpPr>
            <p:nvPr>
              <p:custDataLst>
                <p:tags r:id="rId290"/>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Data to guide national decision making</a:t>
              </a:r>
            </a:p>
          </p:txBody>
        </p:sp>
        <p:pic>
          <p:nvPicPr>
            <p:cNvPr id="680" name="Picture 21"/>
            <p:cNvPicPr>
              <a:picLocks noChangeAspect="1" noChangeArrowheads="1"/>
            </p:cNvPicPr>
            <p:nvPr>
              <p:custDataLst>
                <p:tags r:id="rId291"/>
              </p:custDataLst>
            </p:nvPr>
          </p:nvPicPr>
          <p:blipFill>
            <a:blip r:embed="rId575"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681" name="Rectangle 5"/>
            <p:cNvSpPr>
              <a:spLocks noChangeArrowheads="1"/>
            </p:cNvSpPr>
            <p:nvPr>
              <p:custDataLst>
                <p:tags r:id="rId292"/>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682" name="Picture 5"/>
            <p:cNvPicPr>
              <a:picLocks noChangeAspect="1" noChangeArrowheads="1"/>
            </p:cNvPicPr>
            <p:nvPr>
              <p:custDataLst>
                <p:tags r:id="rId293"/>
              </p:custDataLst>
            </p:nvPr>
          </p:nvPicPr>
          <p:blipFill>
            <a:blip r:embed="rId576"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683" name="Straight Connector 682"/>
            <p:cNvCxnSpPr/>
            <p:nvPr>
              <p:custDataLst>
                <p:tags r:id="rId294"/>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684" name="Rectangle 5"/>
            <p:cNvSpPr>
              <a:spLocks noChangeArrowheads="1"/>
            </p:cNvSpPr>
            <p:nvPr>
              <p:custDataLst>
                <p:tags r:id="rId295"/>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685" name="Rectangle 5"/>
            <p:cNvSpPr>
              <a:spLocks noChangeArrowheads="1"/>
            </p:cNvSpPr>
            <p:nvPr>
              <p:custDataLst>
                <p:tags r:id="rId296"/>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24" name="Group 435"/>
            <p:cNvGrpSpPr/>
            <p:nvPr>
              <p:custDataLst>
                <p:tags r:id="rId297"/>
              </p:custDataLst>
            </p:nvPr>
          </p:nvGrpSpPr>
          <p:grpSpPr>
            <a:xfrm>
              <a:off x="5851932" y="2523591"/>
              <a:ext cx="249647" cy="251917"/>
              <a:chOff x="7230319" y="326252"/>
              <a:chExt cx="506784" cy="510648"/>
            </a:xfrm>
          </p:grpSpPr>
          <p:pic>
            <p:nvPicPr>
              <p:cNvPr id="752" name="Picture 5"/>
              <p:cNvPicPr>
                <a:picLocks noChangeAspect="1" noChangeArrowheads="1"/>
              </p:cNvPicPr>
              <p:nvPr>
                <p:custDataLst>
                  <p:tags r:id="rId328"/>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753" name="Picture 17"/>
              <p:cNvPicPr>
                <a:picLocks noChangeAspect="1" noChangeArrowheads="1"/>
              </p:cNvPicPr>
              <p:nvPr>
                <p:custDataLst>
                  <p:tags r:id="rId329"/>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754" name="Picture 17"/>
              <p:cNvPicPr>
                <a:picLocks noChangeAspect="1" noChangeArrowheads="1"/>
              </p:cNvPicPr>
              <p:nvPr>
                <p:custDataLst>
                  <p:tags r:id="rId330"/>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755" name="Picture 5"/>
              <p:cNvPicPr>
                <a:picLocks noChangeAspect="1" noChangeArrowheads="1"/>
              </p:cNvPicPr>
              <p:nvPr>
                <p:custDataLst>
                  <p:tags r:id="rId331"/>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756" name="Picture 17"/>
              <p:cNvPicPr>
                <a:picLocks noChangeAspect="1" noChangeArrowheads="1"/>
              </p:cNvPicPr>
              <p:nvPr>
                <p:custDataLst>
                  <p:tags r:id="rId332"/>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757" name="Picture 5"/>
              <p:cNvPicPr>
                <a:picLocks noChangeAspect="1" noChangeArrowheads="1"/>
              </p:cNvPicPr>
              <p:nvPr>
                <p:custDataLst>
                  <p:tags r:id="rId333"/>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687" name="Rectangle 5"/>
            <p:cNvSpPr>
              <a:spLocks noChangeArrowheads="1"/>
            </p:cNvSpPr>
            <p:nvPr>
              <p:custDataLst>
                <p:tags r:id="rId298"/>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688" name="Picture 7" descr="C:\Users\mattha\AppData\Local\Microsoft\Windows\Temporary Internet Files\Content.IE5\A0YJT0Y2\MC900368410[1].wmf"/>
            <p:cNvPicPr>
              <a:picLocks noChangeAspect="1" noChangeArrowheads="1"/>
            </p:cNvPicPr>
            <p:nvPr>
              <p:custDataLst>
                <p:tags r:id="rId299"/>
              </p:custDataLst>
            </p:nvPr>
          </p:nvPicPr>
          <p:blipFill>
            <a:blip r:embed="rId578"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689" name="Picture 9" descr="C:\Users\mattha\AppData\Local\Microsoft\Windows\Temporary Internet Files\Content.IE5\WZUD8JML\MC900286861[1].wmf"/>
            <p:cNvPicPr>
              <a:picLocks noChangeAspect="1" noChangeArrowheads="1"/>
            </p:cNvPicPr>
            <p:nvPr>
              <p:custDataLst>
                <p:tags r:id="rId300"/>
              </p:custDataLst>
            </p:nvPr>
          </p:nvPicPr>
          <p:blipFill>
            <a:blip r:embed="rId579"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690" name="Picture 15" descr="C:\Users\mattha\AppData\Local\Microsoft\Windows\Temporary Internet Files\Content.IE5\6RMOFZA8\MC900434820[1].png"/>
            <p:cNvPicPr>
              <a:picLocks noChangeAspect="1" noChangeArrowheads="1"/>
            </p:cNvPicPr>
            <p:nvPr>
              <p:custDataLst>
                <p:tags r:id="rId301"/>
              </p:custDataLst>
            </p:nvPr>
          </p:nvPicPr>
          <p:blipFill>
            <a:blip r:embed="rId580" cstate="print">
              <a:duotone>
                <a:schemeClr val="accent4">
                  <a:shade val="45000"/>
                  <a:satMod val="135000"/>
                </a:schemeClr>
                <a:prstClr val="white"/>
              </a:duotone>
              <a:extLst>
                <a:ext uri="{BEBA8EAE-BF5A-486C-A8C5-ECC9F3942E4B}">
                  <a14:imgProps xmlns:a14="http://schemas.microsoft.com/office/drawing/2010/main">
                    <a14:imgLayer r:embed="rId581">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691" name="Rectangle 5"/>
            <p:cNvSpPr>
              <a:spLocks noChangeArrowheads="1"/>
            </p:cNvSpPr>
            <p:nvPr>
              <p:custDataLst>
                <p:tags r:id="rId302"/>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a:t>
              </a:r>
              <a:r>
                <a:rPr lang="en-US" sz="900" dirty="0" smtClean="0">
                  <a:solidFill>
                    <a:srgbClr val="59452A"/>
                  </a:solidFill>
                  <a:latin typeface="Gill Sans MT" pitchFamily="34" charset="0"/>
                  <a:cs typeface="Arial" charset="0"/>
                </a:rPr>
                <a:t>ollection &amp; use of data</a:t>
              </a:r>
              <a:endParaRPr lang="en-US" sz="800" dirty="0">
                <a:solidFill>
                  <a:srgbClr val="59452A"/>
                </a:solidFill>
                <a:latin typeface="Gill Sans MT" pitchFamily="34" charset="0"/>
                <a:cs typeface="Arial" charset="0"/>
              </a:endParaRPr>
            </a:p>
          </p:txBody>
        </p:sp>
        <p:pic>
          <p:nvPicPr>
            <p:cNvPr id="692" name="Picture 27" descr="C:\Users\mattha\AppData\Local\Microsoft\Windows\Temporary Internet Files\Content.IE5\DT8ZIQ2F\MC900434829[1].png"/>
            <p:cNvPicPr>
              <a:picLocks noChangeAspect="1" noChangeArrowheads="1"/>
            </p:cNvPicPr>
            <p:nvPr>
              <p:custDataLst>
                <p:tags r:id="rId303"/>
              </p:custDataLst>
            </p:nvPr>
          </p:nvPicPr>
          <p:blipFill>
            <a:blip r:embed="rId582" cstate="print">
              <a:extLst>
                <a:ext uri="{BEBA8EAE-BF5A-486C-A8C5-ECC9F3942E4B}">
                  <a14:imgProps xmlns:a14="http://schemas.microsoft.com/office/drawing/2010/main">
                    <a14:imgLayer r:embed="rId58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693" name="Picture 35" descr="C:\Users\mattha\AppData\Local\Microsoft\Windows\Temporary Internet Files\Content.IE5\GIPOTG0L\MC900389208[1].wmf"/>
            <p:cNvPicPr>
              <a:picLocks noChangeAspect="1" noChangeArrowheads="1"/>
            </p:cNvPicPr>
            <p:nvPr>
              <p:custDataLst>
                <p:tags r:id="rId304"/>
              </p:custDataLst>
            </p:nvPr>
          </p:nvPicPr>
          <p:blipFill>
            <a:blip r:embed="rId584"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694" name="Picture 5"/>
            <p:cNvPicPr>
              <a:picLocks noChangeAspect="1" noChangeArrowheads="1"/>
            </p:cNvPicPr>
            <p:nvPr>
              <p:custDataLst>
                <p:tags r:id="rId305"/>
              </p:custDataLst>
            </p:nvPr>
          </p:nvPicPr>
          <p:blipFill>
            <a:blip r:embed="rId573"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695" name="Picture 48" descr="C:\Users\mattha\AppData\Local\Microsoft\Windows\Temporary Internet Files\Content.IE5\2H1X03YN\MC900431595[1].png"/>
            <p:cNvPicPr>
              <a:picLocks noChangeAspect="1" noChangeArrowheads="1"/>
            </p:cNvPicPr>
            <p:nvPr>
              <p:custDataLst>
                <p:tags r:id="rId306"/>
              </p:custDataLst>
            </p:nvPr>
          </p:nvPicPr>
          <p:blipFill>
            <a:blip r:embed="rId585" cstate="print">
              <a:duotone>
                <a:prstClr val="black"/>
                <a:schemeClr val="accent4">
                  <a:tint val="45000"/>
                  <a:satMod val="400000"/>
                </a:schemeClr>
              </a:duotone>
              <a:extLst>
                <a:ext uri="{BEBA8EAE-BF5A-486C-A8C5-ECC9F3942E4B}">
                  <a14:imgProps xmlns:a14="http://schemas.microsoft.com/office/drawing/2010/main">
                    <a14:imgLayer r:embed="rId58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696" name="Picture 50" descr="C:\Users\mattha\AppData\Local\Microsoft\Windows\Temporary Internet Files\Content.IE5\DT8ZIQ2F\MC900389384[1].wmf"/>
            <p:cNvPicPr>
              <a:picLocks noChangeAspect="1" noChangeArrowheads="1"/>
            </p:cNvPicPr>
            <p:nvPr>
              <p:custDataLst>
                <p:tags r:id="rId307"/>
              </p:custDataLst>
            </p:nvPr>
          </p:nvPicPr>
          <p:blipFill>
            <a:blip r:embed="rId58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697" name="Picture 53" descr="C:\Users\mattha\AppData\Local\Microsoft\Windows\Temporary Internet Files\Content.IE5\GIPOTG0L\MC900039023[1].wmf"/>
            <p:cNvPicPr>
              <a:picLocks noChangeAspect="1" noChangeArrowheads="1"/>
            </p:cNvPicPr>
            <p:nvPr>
              <p:custDataLst>
                <p:tags r:id="rId308"/>
              </p:custDataLst>
            </p:nvPr>
          </p:nvPicPr>
          <p:blipFill>
            <a:blip r:embed="rId588"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698" name="Picture 54" descr="C:\Users\mattha\AppData\Local\Microsoft\Windows\Temporary Internet Files\Content.IE5\GIPOTG0L\MC900431584[1].png"/>
            <p:cNvPicPr>
              <a:picLocks noChangeAspect="1" noChangeArrowheads="1"/>
            </p:cNvPicPr>
            <p:nvPr>
              <p:custDataLst>
                <p:tags r:id="rId309"/>
              </p:custDataLst>
            </p:nvPr>
          </p:nvPicPr>
          <p:blipFill>
            <a:blip r:embed="rId589" cstate="print">
              <a:extLst>
                <a:ext uri="{BEBA8EAE-BF5A-486C-A8C5-ECC9F3942E4B}">
                  <a14:imgProps xmlns:a14="http://schemas.microsoft.com/office/drawing/2010/main">
                    <a14:imgLayer r:embed="rId590">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699" name="Picture 57" descr="C:\Users\mattha\AppData\Local\Microsoft\Windows\Temporary Internet Files\Content.IE5\GIPOTG0L\MC900412770[1].wmf"/>
            <p:cNvPicPr>
              <a:picLocks noChangeAspect="1" noChangeArrowheads="1"/>
            </p:cNvPicPr>
            <p:nvPr>
              <p:custDataLst>
                <p:tags r:id="rId310"/>
              </p:custDataLst>
            </p:nvPr>
          </p:nvPicPr>
          <p:blipFill>
            <a:blip r:embed="rId591"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700" name="Picture 66" descr="C:\Users\mattha\AppData\Local\Microsoft\Windows\Temporary Internet Files\Content.IE5\GIPOTG0L\MC900442092[1].wmf"/>
            <p:cNvPicPr>
              <a:picLocks noChangeAspect="1" noChangeArrowheads="1"/>
            </p:cNvPicPr>
            <p:nvPr>
              <p:custDataLst>
                <p:tags r:id="rId311"/>
              </p:custDataLst>
            </p:nvPr>
          </p:nvPicPr>
          <p:blipFill>
            <a:blip r:embed="rId592"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440"/>
            <p:cNvGrpSpPr/>
            <p:nvPr>
              <p:custDataLst>
                <p:tags r:id="rId312"/>
              </p:custDataLst>
            </p:nvPr>
          </p:nvGrpSpPr>
          <p:grpSpPr>
            <a:xfrm>
              <a:off x="5244368" y="2613724"/>
              <a:ext cx="249647" cy="251917"/>
              <a:chOff x="7230319" y="326252"/>
              <a:chExt cx="506784" cy="510648"/>
            </a:xfrm>
          </p:grpSpPr>
          <p:pic>
            <p:nvPicPr>
              <p:cNvPr id="744" name="Picture 5"/>
              <p:cNvPicPr>
                <a:picLocks noChangeAspect="1" noChangeArrowheads="1"/>
              </p:cNvPicPr>
              <p:nvPr>
                <p:custDataLst>
                  <p:tags r:id="rId322"/>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745" name="Picture 17"/>
              <p:cNvPicPr>
                <a:picLocks noChangeAspect="1" noChangeArrowheads="1"/>
              </p:cNvPicPr>
              <p:nvPr>
                <p:custDataLst>
                  <p:tags r:id="rId323"/>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748" name="Picture 17"/>
              <p:cNvPicPr>
                <a:picLocks noChangeAspect="1" noChangeArrowheads="1"/>
              </p:cNvPicPr>
              <p:nvPr>
                <p:custDataLst>
                  <p:tags r:id="rId324"/>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749" name="Picture 5"/>
              <p:cNvPicPr>
                <a:picLocks noChangeAspect="1" noChangeArrowheads="1"/>
              </p:cNvPicPr>
              <p:nvPr>
                <p:custDataLst>
                  <p:tags r:id="rId325"/>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750" name="Picture 17"/>
              <p:cNvPicPr>
                <a:picLocks noChangeAspect="1" noChangeArrowheads="1"/>
              </p:cNvPicPr>
              <p:nvPr>
                <p:custDataLst>
                  <p:tags r:id="rId326"/>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751" name="Picture 5"/>
              <p:cNvPicPr>
                <a:picLocks noChangeAspect="1" noChangeArrowheads="1"/>
              </p:cNvPicPr>
              <p:nvPr>
                <p:custDataLst>
                  <p:tags r:id="rId327"/>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702" name="Rectangle 5"/>
            <p:cNvSpPr>
              <a:spLocks noChangeArrowheads="1"/>
            </p:cNvSpPr>
            <p:nvPr>
              <p:custDataLst>
                <p:tags r:id="rId313"/>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703" name="TextBox 702"/>
            <p:cNvSpPr txBox="1"/>
            <p:nvPr>
              <p:custDataLst>
                <p:tags r:id="rId314"/>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smtClean="0">
                  <a:solidFill>
                    <a:srgbClr val="59452A"/>
                  </a:solidFill>
                  <a:latin typeface="Gill Sans MT" pitchFamily="34" charset="0"/>
                  <a:cs typeface="Arial" pitchFamily="34" charset="0"/>
                </a:rPr>
                <a:t>--------------------     Supply chain data      -------------------</a:t>
              </a:r>
            </a:p>
          </p:txBody>
        </p:sp>
        <p:pic>
          <p:nvPicPr>
            <p:cNvPr id="704" name="Picture 5"/>
            <p:cNvPicPr>
              <a:picLocks noChangeAspect="1" noChangeArrowheads="1"/>
            </p:cNvPicPr>
            <p:nvPr>
              <p:custDataLst>
                <p:tags r:id="rId315"/>
              </p:custDataLst>
            </p:nvPr>
          </p:nvPicPr>
          <p:blipFill>
            <a:blip r:embed="rId573"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705" name="Picture 87" descr="C:\Users\mattha\AppData\Local\Microsoft\Windows\Temporary Internet Files\Content.IE5\DT8ZIQ2F\MC910216326[1].png"/>
            <p:cNvPicPr>
              <a:picLocks noChangeAspect="1" noChangeArrowheads="1"/>
            </p:cNvPicPr>
            <p:nvPr>
              <p:custDataLst>
                <p:tags r:id="rId316"/>
              </p:custDataLst>
            </p:nvPr>
          </p:nvPicPr>
          <p:blipFill>
            <a:blip r:embed="rId593" cstate="print">
              <a:duotone>
                <a:schemeClr val="accent5">
                  <a:shade val="45000"/>
                  <a:satMod val="135000"/>
                </a:schemeClr>
                <a:prstClr val="white"/>
              </a:duotone>
              <a:extLst>
                <a:ext uri="{BEBA8EAE-BF5A-486C-A8C5-ECC9F3942E4B}">
                  <a14:imgProps xmlns:a14="http://schemas.microsoft.com/office/drawing/2010/main">
                    <a14:imgLayer r:embed="rId59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706" name="Picture 4" descr="Data Chart Clip Art"/>
            <p:cNvPicPr>
              <a:picLocks noChangeAspect="1" noChangeArrowheads="1"/>
            </p:cNvPicPr>
            <p:nvPr>
              <p:custDataLst>
                <p:tags r:id="rId317"/>
              </p:custDataLst>
            </p:nvPr>
          </p:nvPicPr>
          <p:blipFill>
            <a:blip r:embed="rId595" cstate="print"/>
            <a:srcRect/>
            <a:stretch>
              <a:fillRect/>
            </a:stretch>
          </p:blipFill>
          <p:spPr bwMode="auto">
            <a:xfrm>
              <a:off x="3571875" y="2470595"/>
              <a:ext cx="247650" cy="236093"/>
            </a:xfrm>
            <a:prstGeom prst="rect">
              <a:avLst/>
            </a:prstGeom>
            <a:noFill/>
          </p:spPr>
        </p:pic>
        <p:grpSp>
          <p:nvGrpSpPr>
            <p:cNvPr id="27" name="Group 848"/>
            <p:cNvGrpSpPr/>
            <p:nvPr>
              <p:custDataLst>
                <p:tags r:id="rId318"/>
              </p:custDataLst>
            </p:nvPr>
          </p:nvGrpSpPr>
          <p:grpSpPr>
            <a:xfrm>
              <a:off x="2257425" y="3627438"/>
              <a:ext cx="274638" cy="333375"/>
              <a:chOff x="2257425" y="3627438"/>
              <a:chExt cx="274638" cy="333375"/>
            </a:xfrm>
          </p:grpSpPr>
          <p:sp>
            <p:nvSpPr>
              <p:cNvPr id="711"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2"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3"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4"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5"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6"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7"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8"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19"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0"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1"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2"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3"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4"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5"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6"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7"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8"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29"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0"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1"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2"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3"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4"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5"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6"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7"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8"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39"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40"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41"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42"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43"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708" name="Rectangle 5"/>
            <p:cNvSpPr>
              <a:spLocks noChangeArrowheads="1"/>
            </p:cNvSpPr>
            <p:nvPr>
              <p:custDataLst>
                <p:tags r:id="rId319"/>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ENABLING PARTNER ENVIRONMENT</a:t>
              </a:r>
            </a:p>
          </p:txBody>
        </p:sp>
        <p:pic>
          <p:nvPicPr>
            <p:cNvPr id="709" name="Picture 2" descr="https://encrypted-tbn1.google.com/images?q=tbn:ANd9GcQ2iDgw2b5ZvUXP-l4Qh60g3Q0yQgF2uKGxP2r60bac0hT5CFlVgw"/>
            <p:cNvPicPr>
              <a:picLocks noChangeAspect="1" noChangeArrowheads="1"/>
            </p:cNvPicPr>
            <p:nvPr>
              <p:custDataLst>
                <p:tags r:id="rId320"/>
              </p:custDataLst>
            </p:nvPr>
          </p:nvPicPr>
          <p:blipFill>
            <a:blip r:embed="rId596"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7">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710" name="Picture 3"/>
            <p:cNvPicPr>
              <a:picLocks noChangeAspect="1" noChangeArrowheads="1"/>
            </p:cNvPicPr>
            <p:nvPr>
              <p:custDataLst>
                <p:tags r:id="rId321"/>
              </p:custDataLst>
            </p:nvPr>
          </p:nvPicPr>
          <p:blipFill>
            <a:blip r:embed="rId598"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grpSp>
        <p:nvGrpSpPr>
          <p:cNvPr id="28" name="Group 761"/>
          <p:cNvGrpSpPr/>
          <p:nvPr/>
        </p:nvGrpSpPr>
        <p:grpSpPr>
          <a:xfrm>
            <a:off x="0" y="-743849"/>
            <a:ext cx="9126743" cy="7601849"/>
            <a:chOff x="0" y="-743849"/>
            <a:chExt cx="9126743" cy="7601849"/>
          </a:xfrm>
        </p:grpSpPr>
        <p:sp>
          <p:nvSpPr>
            <p:cNvPr id="763" name="Rectangle 5"/>
            <p:cNvSpPr>
              <a:spLocks noChangeArrowheads="1"/>
            </p:cNvSpPr>
            <p:nvPr>
              <p:custDataLst>
                <p:tags r:id="rId179"/>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smtClean="0">
                <a:solidFill>
                  <a:srgbClr val="FFFFFF"/>
                </a:solidFill>
                <a:latin typeface="Gill Sans MT" pitchFamily="34" charset="0"/>
                <a:cs typeface="Arial" charset="0"/>
              </a:endParaRPr>
            </a:p>
          </p:txBody>
        </p:sp>
        <p:sp>
          <p:nvSpPr>
            <p:cNvPr id="764" name="Rounded Rectangle 763"/>
            <p:cNvSpPr/>
            <p:nvPr>
              <p:custDataLst>
                <p:tags r:id="rId180"/>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765" name="Rectangle 5"/>
            <p:cNvSpPr>
              <a:spLocks noChangeArrowheads="1"/>
            </p:cNvSpPr>
            <p:nvPr>
              <p:custDataLst>
                <p:tags r:id="rId181"/>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GLOBAL</a:t>
              </a:r>
            </a:p>
          </p:txBody>
        </p:sp>
        <p:sp>
          <p:nvSpPr>
            <p:cNvPr id="766" name="Rectangle 5"/>
            <p:cNvSpPr>
              <a:spLocks noChangeArrowheads="1"/>
            </p:cNvSpPr>
            <p:nvPr>
              <p:custDataLst>
                <p:tags r:id="rId182"/>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NATIONAL</a:t>
              </a:r>
            </a:p>
          </p:txBody>
        </p:sp>
        <p:sp>
          <p:nvSpPr>
            <p:cNvPr id="767" name="Rectangle 5"/>
            <p:cNvSpPr>
              <a:spLocks noChangeArrowheads="1"/>
            </p:cNvSpPr>
            <p:nvPr>
              <p:custDataLst>
                <p:tags r:id="rId183"/>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LOCAL</a:t>
              </a:r>
            </a:p>
          </p:txBody>
        </p:sp>
        <p:sp>
          <p:nvSpPr>
            <p:cNvPr id="768" name="Rectangle 5"/>
            <p:cNvSpPr>
              <a:spLocks noChangeArrowheads="1"/>
            </p:cNvSpPr>
            <p:nvPr>
              <p:custDataLst>
                <p:tags r:id="rId184"/>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POLITICAL COMMITMENT</a:t>
              </a:r>
            </a:p>
          </p:txBody>
        </p:sp>
        <p:sp>
          <p:nvSpPr>
            <p:cNvPr id="769" name="Rectangle 5"/>
            <p:cNvSpPr>
              <a:spLocks noChangeArrowheads="1"/>
            </p:cNvSpPr>
            <p:nvPr>
              <p:custDataLst>
                <p:tags r:id="rId185"/>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FINANCING &amp; PRICING</a:t>
              </a:r>
            </a:p>
          </p:txBody>
        </p:sp>
        <p:sp>
          <p:nvSpPr>
            <p:cNvPr id="770" name="Chord 769"/>
            <p:cNvSpPr/>
            <p:nvPr>
              <p:custDataLst>
                <p:tags r:id="rId186"/>
              </p:custDataLst>
            </p:nvPr>
          </p:nvSpPr>
          <p:spPr bwMode="gray">
            <a:xfrm rot="17541648">
              <a:off x="1424429" y="-785020"/>
              <a:ext cx="6431013" cy="6513356"/>
            </a:xfrm>
            <a:prstGeom prst="chord">
              <a:avLst>
                <a:gd name="adj1" fmla="val 2667511"/>
                <a:gd name="adj2" fmla="val 16200000"/>
              </a:avLst>
            </a:prstGeom>
            <a:solidFill>
              <a:srgbClr val="FFE56F"/>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71" name="Chord 770"/>
            <p:cNvSpPr/>
            <p:nvPr>
              <p:custDataLst>
                <p:tags r:id="rId187"/>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772" name="Chord 771"/>
            <p:cNvSpPr/>
            <p:nvPr>
              <p:custDataLst>
                <p:tags r:id="rId188"/>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773" name="Chord 772"/>
            <p:cNvSpPr/>
            <p:nvPr>
              <p:custDataLst>
                <p:tags r:id="rId189"/>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774" name="Straight Connector 773"/>
            <p:cNvCxnSpPr/>
            <p:nvPr>
              <p:custDataLst>
                <p:tags r:id="rId190"/>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775" name="Straight Connector 774"/>
            <p:cNvCxnSpPr/>
            <p:nvPr>
              <p:custDataLst>
                <p:tags r:id="rId191"/>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776" name="Rectangle 5"/>
            <p:cNvSpPr>
              <a:spLocks noChangeArrowheads="1"/>
            </p:cNvSpPr>
            <p:nvPr>
              <p:custDataLst>
                <p:tags r:id="rId192"/>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777" name="Rectangle 5"/>
            <p:cNvSpPr>
              <a:spLocks noChangeArrowheads="1"/>
            </p:cNvSpPr>
            <p:nvPr>
              <p:custDataLst>
                <p:tags r:id="rId193"/>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778" name="Rectangle 5"/>
            <p:cNvSpPr>
              <a:spLocks noChangeArrowheads="1"/>
            </p:cNvSpPr>
            <p:nvPr>
              <p:custDataLst>
                <p:tags r:id="rId194"/>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779" name="Straight Connector 778"/>
            <p:cNvCxnSpPr/>
            <p:nvPr>
              <p:custDataLst>
                <p:tags r:id="rId195"/>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780" name="Rectangle 5"/>
            <p:cNvSpPr>
              <a:spLocks noChangeArrowheads="1"/>
            </p:cNvSpPr>
            <p:nvPr>
              <p:custDataLst>
                <p:tags r:id="rId196"/>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fficient supplies at health posts</a:t>
              </a:r>
              <a:endParaRPr lang="en-US" sz="900" dirty="0">
                <a:solidFill>
                  <a:srgbClr val="59452A"/>
                </a:solidFill>
                <a:latin typeface="Gill Sans MT" pitchFamily="34" charset="0"/>
                <a:cs typeface="Arial" charset="0"/>
              </a:endParaRPr>
            </a:p>
          </p:txBody>
        </p:sp>
        <p:sp>
          <p:nvSpPr>
            <p:cNvPr id="781" name="Rectangle 5"/>
            <p:cNvSpPr>
              <a:spLocks noChangeArrowheads="1"/>
            </p:cNvSpPr>
            <p:nvPr>
              <p:custDataLst>
                <p:tags r:id="rId197"/>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782" name="Straight Connector 781"/>
            <p:cNvCxnSpPr/>
            <p:nvPr>
              <p:custDataLst>
                <p:tags r:id="rId198"/>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783" name="Straight Connector 782"/>
            <p:cNvCxnSpPr/>
            <p:nvPr>
              <p:custDataLst>
                <p:tags r:id="rId199"/>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784" name="Rectangle 5"/>
            <p:cNvSpPr>
              <a:spLocks noChangeArrowheads="1"/>
            </p:cNvSpPr>
            <p:nvPr>
              <p:custDataLst>
                <p:tags r:id="rId200"/>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785" name="Rectangle 5"/>
            <p:cNvSpPr>
              <a:spLocks noChangeArrowheads="1"/>
            </p:cNvSpPr>
            <p:nvPr>
              <p:custDataLst>
                <p:tags r:id="rId201"/>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786" name="Picture 5"/>
            <p:cNvPicPr>
              <a:picLocks noChangeAspect="1" noChangeArrowheads="1"/>
            </p:cNvPicPr>
            <p:nvPr>
              <p:custDataLst>
                <p:tags r:id="rId202"/>
              </p:custDataLst>
            </p:nvPr>
          </p:nvPicPr>
          <p:blipFill>
            <a:blip r:embed="rId573"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787" name="Rectangle 5"/>
            <p:cNvSpPr>
              <a:spLocks noChangeArrowheads="1"/>
            </p:cNvSpPr>
            <p:nvPr>
              <p:custDataLst>
                <p:tags r:id="rId203"/>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788" name="Straight Connector 787"/>
            <p:cNvCxnSpPr/>
            <p:nvPr>
              <p:custDataLst>
                <p:tags r:id="rId204"/>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789" name="Rectangle 5"/>
            <p:cNvSpPr>
              <a:spLocks noChangeArrowheads="1"/>
            </p:cNvSpPr>
            <p:nvPr>
              <p:custDataLst>
                <p:tags r:id="rId205"/>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790" name="Rectangle 5"/>
            <p:cNvSpPr>
              <a:spLocks noChangeArrowheads="1"/>
            </p:cNvSpPr>
            <p:nvPr>
              <p:custDataLst>
                <p:tags r:id="rId206"/>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791" name="Rectangle 5"/>
            <p:cNvSpPr>
              <a:spLocks noChangeArrowheads="1"/>
            </p:cNvSpPr>
            <p:nvPr>
              <p:custDataLst>
                <p:tags r:id="rId207"/>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29" name="Group 927"/>
            <p:cNvGrpSpPr/>
            <p:nvPr>
              <p:custDataLst>
                <p:tags r:id="rId208"/>
              </p:custDataLst>
            </p:nvPr>
          </p:nvGrpSpPr>
          <p:grpSpPr>
            <a:xfrm>
              <a:off x="2375776" y="2430017"/>
              <a:ext cx="532015" cy="444343"/>
              <a:chOff x="5085316" y="2082799"/>
              <a:chExt cx="777013" cy="639762"/>
            </a:xfrm>
          </p:grpSpPr>
          <p:sp>
            <p:nvSpPr>
              <p:cNvPr id="875" name="Freeform 25"/>
              <p:cNvSpPr>
                <a:spLocks noChangeAspect="1"/>
              </p:cNvSpPr>
              <p:nvPr>
                <p:custDataLst>
                  <p:tags r:id="rId256"/>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876" name="Picture 3"/>
              <p:cNvPicPr>
                <a:picLocks noChangeAspect="1" noChangeArrowheads="1"/>
              </p:cNvPicPr>
              <p:nvPr/>
            </p:nvPicPr>
            <p:blipFill>
              <a:blip r:embed="rId574"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877" name="Picture 3"/>
              <p:cNvPicPr>
                <a:picLocks noChangeAspect="1" noChangeArrowheads="1"/>
              </p:cNvPicPr>
              <p:nvPr/>
            </p:nvPicPr>
            <p:blipFill>
              <a:blip r:embed="rId574"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878" name="Picture 3"/>
              <p:cNvPicPr>
                <a:picLocks noChangeAspect="1" noChangeArrowheads="1"/>
              </p:cNvPicPr>
              <p:nvPr/>
            </p:nvPicPr>
            <p:blipFill>
              <a:blip r:embed="rId574"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793" name="Rectangle 5"/>
            <p:cNvSpPr>
              <a:spLocks noChangeArrowheads="1"/>
            </p:cNvSpPr>
            <p:nvPr>
              <p:custDataLst>
                <p:tags r:id="rId209"/>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794" name="Rectangle 5"/>
            <p:cNvSpPr>
              <a:spLocks noChangeArrowheads="1"/>
            </p:cNvSpPr>
            <p:nvPr>
              <p:custDataLst>
                <p:tags r:id="rId210"/>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795" name="Rectangle 5"/>
            <p:cNvSpPr>
              <a:spLocks noChangeArrowheads="1"/>
            </p:cNvSpPr>
            <p:nvPr>
              <p:custDataLst>
                <p:tags r:id="rId211"/>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796" name="Rectangle 5"/>
            <p:cNvSpPr>
              <a:spLocks noChangeArrowheads="1"/>
            </p:cNvSpPr>
            <p:nvPr>
              <p:custDataLst>
                <p:tags r:id="rId212"/>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Data to guide national decision making</a:t>
              </a:r>
            </a:p>
          </p:txBody>
        </p:sp>
        <p:pic>
          <p:nvPicPr>
            <p:cNvPr id="797" name="Picture 21"/>
            <p:cNvPicPr>
              <a:picLocks noChangeAspect="1" noChangeArrowheads="1"/>
            </p:cNvPicPr>
            <p:nvPr>
              <p:custDataLst>
                <p:tags r:id="rId213"/>
              </p:custDataLst>
            </p:nvPr>
          </p:nvPicPr>
          <p:blipFill>
            <a:blip r:embed="rId575"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798" name="Rectangle 5"/>
            <p:cNvSpPr>
              <a:spLocks noChangeArrowheads="1"/>
            </p:cNvSpPr>
            <p:nvPr>
              <p:custDataLst>
                <p:tags r:id="rId214"/>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799" name="Picture 5"/>
            <p:cNvPicPr>
              <a:picLocks noChangeAspect="1" noChangeArrowheads="1"/>
            </p:cNvPicPr>
            <p:nvPr>
              <p:custDataLst>
                <p:tags r:id="rId215"/>
              </p:custDataLst>
            </p:nvPr>
          </p:nvPicPr>
          <p:blipFill>
            <a:blip r:embed="rId576"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800" name="Straight Connector 799"/>
            <p:cNvCxnSpPr/>
            <p:nvPr>
              <p:custDataLst>
                <p:tags r:id="rId216"/>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801" name="Rectangle 5"/>
            <p:cNvSpPr>
              <a:spLocks noChangeArrowheads="1"/>
            </p:cNvSpPr>
            <p:nvPr>
              <p:custDataLst>
                <p:tags r:id="rId217"/>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802" name="Rectangle 5"/>
            <p:cNvSpPr>
              <a:spLocks noChangeArrowheads="1"/>
            </p:cNvSpPr>
            <p:nvPr>
              <p:custDataLst>
                <p:tags r:id="rId218"/>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30" name="Group 435"/>
            <p:cNvGrpSpPr/>
            <p:nvPr>
              <p:custDataLst>
                <p:tags r:id="rId219"/>
              </p:custDataLst>
            </p:nvPr>
          </p:nvGrpSpPr>
          <p:grpSpPr>
            <a:xfrm>
              <a:off x="5851932" y="2523591"/>
              <a:ext cx="249647" cy="251917"/>
              <a:chOff x="7230319" y="326252"/>
              <a:chExt cx="506784" cy="510648"/>
            </a:xfrm>
          </p:grpSpPr>
          <p:pic>
            <p:nvPicPr>
              <p:cNvPr id="869" name="Picture 5"/>
              <p:cNvPicPr>
                <a:picLocks noChangeAspect="1" noChangeArrowheads="1"/>
              </p:cNvPicPr>
              <p:nvPr>
                <p:custDataLst>
                  <p:tags r:id="rId250"/>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870" name="Picture 17"/>
              <p:cNvPicPr>
                <a:picLocks noChangeAspect="1" noChangeArrowheads="1"/>
              </p:cNvPicPr>
              <p:nvPr>
                <p:custDataLst>
                  <p:tags r:id="rId251"/>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871" name="Picture 17"/>
              <p:cNvPicPr>
                <a:picLocks noChangeAspect="1" noChangeArrowheads="1"/>
              </p:cNvPicPr>
              <p:nvPr>
                <p:custDataLst>
                  <p:tags r:id="rId252"/>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872" name="Picture 5"/>
              <p:cNvPicPr>
                <a:picLocks noChangeAspect="1" noChangeArrowheads="1"/>
              </p:cNvPicPr>
              <p:nvPr>
                <p:custDataLst>
                  <p:tags r:id="rId253"/>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873" name="Picture 17"/>
              <p:cNvPicPr>
                <a:picLocks noChangeAspect="1" noChangeArrowheads="1"/>
              </p:cNvPicPr>
              <p:nvPr>
                <p:custDataLst>
                  <p:tags r:id="rId254"/>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874" name="Picture 5"/>
              <p:cNvPicPr>
                <a:picLocks noChangeAspect="1" noChangeArrowheads="1"/>
              </p:cNvPicPr>
              <p:nvPr>
                <p:custDataLst>
                  <p:tags r:id="rId255"/>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804" name="Rectangle 5"/>
            <p:cNvSpPr>
              <a:spLocks noChangeArrowheads="1"/>
            </p:cNvSpPr>
            <p:nvPr>
              <p:custDataLst>
                <p:tags r:id="rId220"/>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805" name="Picture 7" descr="C:\Users\mattha\AppData\Local\Microsoft\Windows\Temporary Internet Files\Content.IE5\A0YJT0Y2\MC900368410[1].wmf"/>
            <p:cNvPicPr>
              <a:picLocks noChangeAspect="1" noChangeArrowheads="1"/>
            </p:cNvPicPr>
            <p:nvPr>
              <p:custDataLst>
                <p:tags r:id="rId221"/>
              </p:custDataLst>
            </p:nvPr>
          </p:nvPicPr>
          <p:blipFill>
            <a:blip r:embed="rId578"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806" name="Picture 9" descr="C:\Users\mattha\AppData\Local\Microsoft\Windows\Temporary Internet Files\Content.IE5\WZUD8JML\MC900286861[1].wmf"/>
            <p:cNvPicPr>
              <a:picLocks noChangeAspect="1" noChangeArrowheads="1"/>
            </p:cNvPicPr>
            <p:nvPr>
              <p:custDataLst>
                <p:tags r:id="rId222"/>
              </p:custDataLst>
            </p:nvPr>
          </p:nvPicPr>
          <p:blipFill>
            <a:blip r:embed="rId579"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807" name="Picture 15" descr="C:\Users\mattha\AppData\Local\Microsoft\Windows\Temporary Internet Files\Content.IE5\6RMOFZA8\MC900434820[1].png"/>
            <p:cNvPicPr>
              <a:picLocks noChangeAspect="1" noChangeArrowheads="1"/>
            </p:cNvPicPr>
            <p:nvPr>
              <p:custDataLst>
                <p:tags r:id="rId223"/>
              </p:custDataLst>
            </p:nvPr>
          </p:nvPicPr>
          <p:blipFill>
            <a:blip r:embed="rId580" cstate="print">
              <a:duotone>
                <a:schemeClr val="accent4">
                  <a:shade val="45000"/>
                  <a:satMod val="135000"/>
                </a:schemeClr>
                <a:prstClr val="white"/>
              </a:duotone>
              <a:extLst>
                <a:ext uri="{BEBA8EAE-BF5A-486C-A8C5-ECC9F3942E4B}">
                  <a14:imgProps xmlns:a14="http://schemas.microsoft.com/office/drawing/2010/main">
                    <a14:imgLayer r:embed="rId581">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808" name="Rectangle 5"/>
            <p:cNvSpPr>
              <a:spLocks noChangeArrowheads="1"/>
            </p:cNvSpPr>
            <p:nvPr>
              <p:custDataLst>
                <p:tags r:id="rId224"/>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a:t>
              </a:r>
              <a:r>
                <a:rPr lang="en-US" sz="900" dirty="0" smtClean="0">
                  <a:solidFill>
                    <a:srgbClr val="59452A"/>
                  </a:solidFill>
                  <a:latin typeface="Gill Sans MT" pitchFamily="34" charset="0"/>
                  <a:cs typeface="Arial" charset="0"/>
                </a:rPr>
                <a:t>ollection &amp; use of data</a:t>
              </a:r>
              <a:endParaRPr lang="en-US" sz="800" dirty="0">
                <a:solidFill>
                  <a:srgbClr val="59452A"/>
                </a:solidFill>
                <a:latin typeface="Gill Sans MT" pitchFamily="34" charset="0"/>
                <a:cs typeface="Arial" charset="0"/>
              </a:endParaRPr>
            </a:p>
          </p:txBody>
        </p:sp>
        <p:pic>
          <p:nvPicPr>
            <p:cNvPr id="809" name="Picture 27" descr="C:\Users\mattha\AppData\Local\Microsoft\Windows\Temporary Internet Files\Content.IE5\DT8ZIQ2F\MC900434829[1].png"/>
            <p:cNvPicPr>
              <a:picLocks noChangeAspect="1" noChangeArrowheads="1"/>
            </p:cNvPicPr>
            <p:nvPr>
              <p:custDataLst>
                <p:tags r:id="rId225"/>
              </p:custDataLst>
            </p:nvPr>
          </p:nvPicPr>
          <p:blipFill>
            <a:blip r:embed="rId582" cstate="print">
              <a:extLst>
                <a:ext uri="{BEBA8EAE-BF5A-486C-A8C5-ECC9F3942E4B}">
                  <a14:imgProps xmlns:a14="http://schemas.microsoft.com/office/drawing/2010/main">
                    <a14:imgLayer r:embed="rId58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810" name="Picture 35" descr="C:\Users\mattha\AppData\Local\Microsoft\Windows\Temporary Internet Files\Content.IE5\GIPOTG0L\MC900389208[1].wmf"/>
            <p:cNvPicPr>
              <a:picLocks noChangeAspect="1" noChangeArrowheads="1"/>
            </p:cNvPicPr>
            <p:nvPr>
              <p:custDataLst>
                <p:tags r:id="rId226"/>
              </p:custDataLst>
            </p:nvPr>
          </p:nvPicPr>
          <p:blipFill>
            <a:blip r:embed="rId584"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811" name="Picture 5"/>
            <p:cNvPicPr>
              <a:picLocks noChangeAspect="1" noChangeArrowheads="1"/>
            </p:cNvPicPr>
            <p:nvPr>
              <p:custDataLst>
                <p:tags r:id="rId227"/>
              </p:custDataLst>
            </p:nvPr>
          </p:nvPicPr>
          <p:blipFill>
            <a:blip r:embed="rId573"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812" name="Picture 48" descr="C:\Users\mattha\AppData\Local\Microsoft\Windows\Temporary Internet Files\Content.IE5\2H1X03YN\MC900431595[1].png"/>
            <p:cNvPicPr>
              <a:picLocks noChangeAspect="1" noChangeArrowheads="1"/>
            </p:cNvPicPr>
            <p:nvPr>
              <p:custDataLst>
                <p:tags r:id="rId228"/>
              </p:custDataLst>
            </p:nvPr>
          </p:nvPicPr>
          <p:blipFill>
            <a:blip r:embed="rId585" cstate="print">
              <a:duotone>
                <a:prstClr val="black"/>
                <a:schemeClr val="accent4">
                  <a:tint val="45000"/>
                  <a:satMod val="400000"/>
                </a:schemeClr>
              </a:duotone>
              <a:extLst>
                <a:ext uri="{BEBA8EAE-BF5A-486C-A8C5-ECC9F3942E4B}">
                  <a14:imgProps xmlns:a14="http://schemas.microsoft.com/office/drawing/2010/main">
                    <a14:imgLayer r:embed="rId58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813" name="Picture 50" descr="C:\Users\mattha\AppData\Local\Microsoft\Windows\Temporary Internet Files\Content.IE5\DT8ZIQ2F\MC900389384[1].wmf"/>
            <p:cNvPicPr>
              <a:picLocks noChangeAspect="1" noChangeArrowheads="1"/>
            </p:cNvPicPr>
            <p:nvPr>
              <p:custDataLst>
                <p:tags r:id="rId229"/>
              </p:custDataLst>
            </p:nvPr>
          </p:nvPicPr>
          <p:blipFill>
            <a:blip r:embed="rId58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814" name="Picture 53" descr="C:\Users\mattha\AppData\Local\Microsoft\Windows\Temporary Internet Files\Content.IE5\GIPOTG0L\MC900039023[1].wmf"/>
            <p:cNvPicPr>
              <a:picLocks noChangeAspect="1" noChangeArrowheads="1"/>
            </p:cNvPicPr>
            <p:nvPr>
              <p:custDataLst>
                <p:tags r:id="rId230"/>
              </p:custDataLst>
            </p:nvPr>
          </p:nvPicPr>
          <p:blipFill>
            <a:blip r:embed="rId588"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815" name="Picture 54" descr="C:\Users\mattha\AppData\Local\Microsoft\Windows\Temporary Internet Files\Content.IE5\GIPOTG0L\MC900431584[1].png"/>
            <p:cNvPicPr>
              <a:picLocks noChangeAspect="1" noChangeArrowheads="1"/>
            </p:cNvPicPr>
            <p:nvPr>
              <p:custDataLst>
                <p:tags r:id="rId231"/>
              </p:custDataLst>
            </p:nvPr>
          </p:nvPicPr>
          <p:blipFill>
            <a:blip r:embed="rId589" cstate="print">
              <a:extLst>
                <a:ext uri="{BEBA8EAE-BF5A-486C-A8C5-ECC9F3942E4B}">
                  <a14:imgProps xmlns:a14="http://schemas.microsoft.com/office/drawing/2010/main">
                    <a14:imgLayer r:embed="rId590">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816" name="Picture 57" descr="C:\Users\mattha\AppData\Local\Microsoft\Windows\Temporary Internet Files\Content.IE5\GIPOTG0L\MC900412770[1].wmf"/>
            <p:cNvPicPr>
              <a:picLocks noChangeAspect="1" noChangeArrowheads="1"/>
            </p:cNvPicPr>
            <p:nvPr>
              <p:custDataLst>
                <p:tags r:id="rId232"/>
              </p:custDataLst>
            </p:nvPr>
          </p:nvPicPr>
          <p:blipFill>
            <a:blip r:embed="rId591"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817" name="Picture 66" descr="C:\Users\mattha\AppData\Local\Microsoft\Windows\Temporary Internet Files\Content.IE5\GIPOTG0L\MC900442092[1].wmf"/>
            <p:cNvPicPr>
              <a:picLocks noChangeAspect="1" noChangeArrowheads="1"/>
            </p:cNvPicPr>
            <p:nvPr>
              <p:custDataLst>
                <p:tags r:id="rId233"/>
              </p:custDataLst>
            </p:nvPr>
          </p:nvPicPr>
          <p:blipFill>
            <a:blip r:embed="rId592"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440"/>
            <p:cNvGrpSpPr/>
            <p:nvPr>
              <p:custDataLst>
                <p:tags r:id="rId234"/>
              </p:custDataLst>
            </p:nvPr>
          </p:nvGrpSpPr>
          <p:grpSpPr>
            <a:xfrm>
              <a:off x="5244368" y="2613724"/>
              <a:ext cx="249647" cy="251917"/>
              <a:chOff x="7230319" y="326252"/>
              <a:chExt cx="506784" cy="510648"/>
            </a:xfrm>
          </p:grpSpPr>
          <p:pic>
            <p:nvPicPr>
              <p:cNvPr id="863" name="Picture 5"/>
              <p:cNvPicPr>
                <a:picLocks noChangeAspect="1" noChangeArrowheads="1"/>
              </p:cNvPicPr>
              <p:nvPr>
                <p:custDataLst>
                  <p:tags r:id="rId244"/>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864" name="Picture 17"/>
              <p:cNvPicPr>
                <a:picLocks noChangeAspect="1" noChangeArrowheads="1"/>
              </p:cNvPicPr>
              <p:nvPr>
                <p:custDataLst>
                  <p:tags r:id="rId245"/>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865" name="Picture 17"/>
              <p:cNvPicPr>
                <a:picLocks noChangeAspect="1" noChangeArrowheads="1"/>
              </p:cNvPicPr>
              <p:nvPr>
                <p:custDataLst>
                  <p:tags r:id="rId246"/>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866" name="Picture 5"/>
              <p:cNvPicPr>
                <a:picLocks noChangeAspect="1" noChangeArrowheads="1"/>
              </p:cNvPicPr>
              <p:nvPr>
                <p:custDataLst>
                  <p:tags r:id="rId247"/>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867" name="Picture 17"/>
              <p:cNvPicPr>
                <a:picLocks noChangeAspect="1" noChangeArrowheads="1"/>
              </p:cNvPicPr>
              <p:nvPr>
                <p:custDataLst>
                  <p:tags r:id="rId248"/>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868" name="Picture 5"/>
              <p:cNvPicPr>
                <a:picLocks noChangeAspect="1" noChangeArrowheads="1"/>
              </p:cNvPicPr>
              <p:nvPr>
                <p:custDataLst>
                  <p:tags r:id="rId249"/>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819" name="Rectangle 5"/>
            <p:cNvSpPr>
              <a:spLocks noChangeArrowheads="1"/>
            </p:cNvSpPr>
            <p:nvPr>
              <p:custDataLst>
                <p:tags r:id="rId235"/>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820" name="TextBox 819"/>
            <p:cNvSpPr txBox="1"/>
            <p:nvPr>
              <p:custDataLst>
                <p:tags r:id="rId236"/>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smtClean="0">
                  <a:solidFill>
                    <a:srgbClr val="59452A"/>
                  </a:solidFill>
                  <a:latin typeface="Gill Sans MT" pitchFamily="34" charset="0"/>
                  <a:cs typeface="Arial" pitchFamily="34" charset="0"/>
                </a:rPr>
                <a:t>--------------------     Supply chain data      -------------------</a:t>
              </a:r>
            </a:p>
          </p:txBody>
        </p:sp>
        <p:pic>
          <p:nvPicPr>
            <p:cNvPr id="821" name="Picture 5"/>
            <p:cNvPicPr>
              <a:picLocks noChangeAspect="1" noChangeArrowheads="1"/>
            </p:cNvPicPr>
            <p:nvPr>
              <p:custDataLst>
                <p:tags r:id="rId237"/>
              </p:custDataLst>
            </p:nvPr>
          </p:nvPicPr>
          <p:blipFill>
            <a:blip r:embed="rId573"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822" name="Picture 87" descr="C:\Users\mattha\AppData\Local\Microsoft\Windows\Temporary Internet Files\Content.IE5\DT8ZIQ2F\MC910216326[1].png"/>
            <p:cNvPicPr>
              <a:picLocks noChangeAspect="1" noChangeArrowheads="1"/>
            </p:cNvPicPr>
            <p:nvPr>
              <p:custDataLst>
                <p:tags r:id="rId238"/>
              </p:custDataLst>
            </p:nvPr>
          </p:nvPicPr>
          <p:blipFill>
            <a:blip r:embed="rId593" cstate="print">
              <a:duotone>
                <a:schemeClr val="accent5">
                  <a:shade val="45000"/>
                  <a:satMod val="135000"/>
                </a:schemeClr>
                <a:prstClr val="white"/>
              </a:duotone>
              <a:extLst>
                <a:ext uri="{BEBA8EAE-BF5A-486C-A8C5-ECC9F3942E4B}">
                  <a14:imgProps xmlns:a14="http://schemas.microsoft.com/office/drawing/2010/main">
                    <a14:imgLayer r:embed="rId59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823" name="Picture 4" descr="Data Chart Clip Art"/>
            <p:cNvPicPr>
              <a:picLocks noChangeAspect="1" noChangeArrowheads="1"/>
            </p:cNvPicPr>
            <p:nvPr>
              <p:custDataLst>
                <p:tags r:id="rId239"/>
              </p:custDataLst>
            </p:nvPr>
          </p:nvPicPr>
          <p:blipFill>
            <a:blip r:embed="rId595" cstate="print"/>
            <a:srcRect/>
            <a:stretch>
              <a:fillRect/>
            </a:stretch>
          </p:blipFill>
          <p:spPr bwMode="auto">
            <a:xfrm>
              <a:off x="3571875" y="2470595"/>
              <a:ext cx="247650" cy="236093"/>
            </a:xfrm>
            <a:prstGeom prst="rect">
              <a:avLst/>
            </a:prstGeom>
            <a:noFill/>
          </p:spPr>
        </p:pic>
        <p:grpSp>
          <p:nvGrpSpPr>
            <p:cNvPr id="32" name="Group 848"/>
            <p:cNvGrpSpPr/>
            <p:nvPr>
              <p:custDataLst>
                <p:tags r:id="rId240"/>
              </p:custDataLst>
            </p:nvPr>
          </p:nvGrpSpPr>
          <p:grpSpPr>
            <a:xfrm>
              <a:off x="2257425" y="3627438"/>
              <a:ext cx="274638" cy="333375"/>
              <a:chOff x="2257425" y="3627438"/>
              <a:chExt cx="274638" cy="333375"/>
            </a:xfrm>
          </p:grpSpPr>
          <p:sp>
            <p:nvSpPr>
              <p:cNvPr id="828"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29"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0"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1"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2"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3"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4"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5"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6"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7"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8"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39"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0"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1"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2"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3"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4"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5"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6"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7"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8"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49"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1"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2"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3"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4"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5"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6"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7"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8"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59"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61"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62"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825" name="Rectangle 5"/>
            <p:cNvSpPr>
              <a:spLocks noChangeArrowheads="1"/>
            </p:cNvSpPr>
            <p:nvPr>
              <p:custDataLst>
                <p:tags r:id="rId241"/>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ENABLING PARTNER ENVIRONMENT</a:t>
              </a:r>
            </a:p>
          </p:txBody>
        </p:sp>
        <p:pic>
          <p:nvPicPr>
            <p:cNvPr id="826" name="Picture 2" descr="https://encrypted-tbn1.google.com/images?q=tbn:ANd9GcQ2iDgw2b5ZvUXP-l4Qh60g3Q0yQgF2uKGxP2r60bac0hT5CFlVgw"/>
            <p:cNvPicPr>
              <a:picLocks noChangeAspect="1" noChangeArrowheads="1"/>
            </p:cNvPicPr>
            <p:nvPr>
              <p:custDataLst>
                <p:tags r:id="rId242"/>
              </p:custDataLst>
            </p:nvPr>
          </p:nvPicPr>
          <p:blipFill>
            <a:blip r:embed="rId596"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7">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827" name="Picture 3"/>
            <p:cNvPicPr>
              <a:picLocks noChangeAspect="1" noChangeArrowheads="1"/>
            </p:cNvPicPr>
            <p:nvPr>
              <p:custDataLst>
                <p:tags r:id="rId243"/>
              </p:custDataLst>
            </p:nvPr>
          </p:nvPicPr>
          <p:blipFill>
            <a:blip r:embed="rId598"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grpSp>
        <p:nvGrpSpPr>
          <p:cNvPr id="33" name="Group 878"/>
          <p:cNvGrpSpPr/>
          <p:nvPr/>
        </p:nvGrpSpPr>
        <p:grpSpPr>
          <a:xfrm>
            <a:off x="0" y="-743849"/>
            <a:ext cx="9126743" cy="7601849"/>
            <a:chOff x="0" y="-743849"/>
            <a:chExt cx="9126743" cy="7601849"/>
          </a:xfrm>
        </p:grpSpPr>
        <p:sp>
          <p:nvSpPr>
            <p:cNvPr id="880" name="Rectangle 5"/>
            <p:cNvSpPr>
              <a:spLocks noChangeArrowheads="1"/>
            </p:cNvSpPr>
            <p:nvPr>
              <p:custDataLst>
                <p:tags r:id="rId101"/>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smtClean="0">
                <a:solidFill>
                  <a:srgbClr val="FFFFFF"/>
                </a:solidFill>
                <a:latin typeface="Gill Sans MT" pitchFamily="34" charset="0"/>
                <a:cs typeface="Arial" charset="0"/>
              </a:endParaRPr>
            </a:p>
          </p:txBody>
        </p:sp>
        <p:sp>
          <p:nvSpPr>
            <p:cNvPr id="881" name="Rounded Rectangle 880"/>
            <p:cNvSpPr/>
            <p:nvPr>
              <p:custDataLst>
                <p:tags r:id="rId102"/>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882" name="Rectangle 5"/>
            <p:cNvSpPr>
              <a:spLocks noChangeArrowheads="1"/>
            </p:cNvSpPr>
            <p:nvPr>
              <p:custDataLst>
                <p:tags r:id="rId103"/>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GLOBAL</a:t>
              </a:r>
            </a:p>
          </p:txBody>
        </p:sp>
        <p:sp>
          <p:nvSpPr>
            <p:cNvPr id="883" name="Rectangle 5"/>
            <p:cNvSpPr>
              <a:spLocks noChangeArrowheads="1"/>
            </p:cNvSpPr>
            <p:nvPr>
              <p:custDataLst>
                <p:tags r:id="rId104"/>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NATIONAL</a:t>
              </a:r>
            </a:p>
          </p:txBody>
        </p:sp>
        <p:sp>
          <p:nvSpPr>
            <p:cNvPr id="884" name="Rectangle 5"/>
            <p:cNvSpPr>
              <a:spLocks noChangeArrowheads="1"/>
            </p:cNvSpPr>
            <p:nvPr>
              <p:custDataLst>
                <p:tags r:id="rId105"/>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LOCAL</a:t>
              </a:r>
            </a:p>
          </p:txBody>
        </p:sp>
        <p:sp>
          <p:nvSpPr>
            <p:cNvPr id="885" name="Rectangle 5"/>
            <p:cNvSpPr>
              <a:spLocks noChangeArrowheads="1"/>
            </p:cNvSpPr>
            <p:nvPr>
              <p:custDataLst>
                <p:tags r:id="rId106"/>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POLITICAL COMMITMENT</a:t>
              </a:r>
            </a:p>
          </p:txBody>
        </p:sp>
        <p:sp>
          <p:nvSpPr>
            <p:cNvPr id="886" name="Rectangle 5"/>
            <p:cNvSpPr>
              <a:spLocks noChangeArrowheads="1"/>
            </p:cNvSpPr>
            <p:nvPr>
              <p:custDataLst>
                <p:tags r:id="rId107"/>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FINANCING &amp; PRICING</a:t>
              </a:r>
            </a:p>
          </p:txBody>
        </p:sp>
        <p:sp>
          <p:nvSpPr>
            <p:cNvPr id="887" name="Chord 886"/>
            <p:cNvSpPr/>
            <p:nvPr>
              <p:custDataLst>
                <p:tags r:id="rId108"/>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88" name="Chord 887"/>
            <p:cNvSpPr/>
            <p:nvPr>
              <p:custDataLst>
                <p:tags r:id="rId109"/>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889" name="Chord 888"/>
            <p:cNvSpPr/>
            <p:nvPr>
              <p:custDataLst>
                <p:tags r:id="rId110"/>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890" name="Chord 889"/>
            <p:cNvSpPr/>
            <p:nvPr>
              <p:custDataLst>
                <p:tags r:id="rId111"/>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891" name="Straight Connector 890"/>
            <p:cNvCxnSpPr/>
            <p:nvPr>
              <p:custDataLst>
                <p:tags r:id="rId112"/>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892" name="Straight Connector 891"/>
            <p:cNvCxnSpPr/>
            <p:nvPr>
              <p:custDataLst>
                <p:tags r:id="rId113"/>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893" name="Rectangle 5"/>
            <p:cNvSpPr>
              <a:spLocks noChangeArrowheads="1"/>
            </p:cNvSpPr>
            <p:nvPr>
              <p:custDataLst>
                <p:tags r:id="rId114"/>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894" name="Rectangle 5"/>
            <p:cNvSpPr>
              <a:spLocks noChangeArrowheads="1"/>
            </p:cNvSpPr>
            <p:nvPr>
              <p:custDataLst>
                <p:tags r:id="rId115"/>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895" name="Rectangle 5"/>
            <p:cNvSpPr>
              <a:spLocks noChangeArrowheads="1"/>
            </p:cNvSpPr>
            <p:nvPr>
              <p:custDataLst>
                <p:tags r:id="rId116"/>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896" name="Straight Connector 895"/>
            <p:cNvCxnSpPr/>
            <p:nvPr>
              <p:custDataLst>
                <p:tags r:id="rId117"/>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897" name="Rectangle 5"/>
            <p:cNvSpPr>
              <a:spLocks noChangeArrowheads="1"/>
            </p:cNvSpPr>
            <p:nvPr>
              <p:custDataLst>
                <p:tags r:id="rId118"/>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fficient supplies at health posts</a:t>
              </a:r>
              <a:endParaRPr lang="en-US" sz="900" dirty="0">
                <a:solidFill>
                  <a:srgbClr val="59452A"/>
                </a:solidFill>
                <a:latin typeface="Gill Sans MT" pitchFamily="34" charset="0"/>
                <a:cs typeface="Arial" charset="0"/>
              </a:endParaRPr>
            </a:p>
          </p:txBody>
        </p:sp>
        <p:sp>
          <p:nvSpPr>
            <p:cNvPr id="898" name="Rectangle 5"/>
            <p:cNvSpPr>
              <a:spLocks noChangeArrowheads="1"/>
            </p:cNvSpPr>
            <p:nvPr>
              <p:custDataLst>
                <p:tags r:id="rId119"/>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899" name="Straight Connector 898"/>
            <p:cNvCxnSpPr/>
            <p:nvPr>
              <p:custDataLst>
                <p:tags r:id="rId120"/>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900" name="Straight Connector 899"/>
            <p:cNvCxnSpPr/>
            <p:nvPr>
              <p:custDataLst>
                <p:tags r:id="rId121"/>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901" name="Rectangle 5"/>
            <p:cNvSpPr>
              <a:spLocks noChangeArrowheads="1"/>
            </p:cNvSpPr>
            <p:nvPr>
              <p:custDataLst>
                <p:tags r:id="rId122"/>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902" name="Rectangle 5"/>
            <p:cNvSpPr>
              <a:spLocks noChangeArrowheads="1"/>
            </p:cNvSpPr>
            <p:nvPr>
              <p:custDataLst>
                <p:tags r:id="rId123"/>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903" name="Picture 5"/>
            <p:cNvPicPr>
              <a:picLocks noChangeAspect="1" noChangeArrowheads="1"/>
            </p:cNvPicPr>
            <p:nvPr>
              <p:custDataLst>
                <p:tags r:id="rId124"/>
              </p:custDataLst>
            </p:nvPr>
          </p:nvPicPr>
          <p:blipFill>
            <a:blip r:embed="rId573"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904" name="Rectangle 5"/>
            <p:cNvSpPr>
              <a:spLocks noChangeArrowheads="1"/>
            </p:cNvSpPr>
            <p:nvPr>
              <p:custDataLst>
                <p:tags r:id="rId125"/>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905" name="Straight Connector 904"/>
            <p:cNvCxnSpPr/>
            <p:nvPr>
              <p:custDataLst>
                <p:tags r:id="rId126"/>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906" name="Rectangle 5"/>
            <p:cNvSpPr>
              <a:spLocks noChangeArrowheads="1"/>
            </p:cNvSpPr>
            <p:nvPr>
              <p:custDataLst>
                <p:tags r:id="rId127"/>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907" name="Rectangle 5"/>
            <p:cNvSpPr>
              <a:spLocks noChangeArrowheads="1"/>
            </p:cNvSpPr>
            <p:nvPr>
              <p:custDataLst>
                <p:tags r:id="rId128"/>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908" name="Rectangle 5"/>
            <p:cNvSpPr>
              <a:spLocks noChangeArrowheads="1"/>
            </p:cNvSpPr>
            <p:nvPr>
              <p:custDataLst>
                <p:tags r:id="rId129"/>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34" name="Group 927"/>
            <p:cNvGrpSpPr/>
            <p:nvPr>
              <p:custDataLst>
                <p:tags r:id="rId130"/>
              </p:custDataLst>
            </p:nvPr>
          </p:nvGrpSpPr>
          <p:grpSpPr>
            <a:xfrm>
              <a:off x="2375776" y="2430017"/>
              <a:ext cx="532015" cy="444343"/>
              <a:chOff x="5085316" y="2082799"/>
              <a:chExt cx="777013" cy="639762"/>
            </a:xfrm>
          </p:grpSpPr>
          <p:sp>
            <p:nvSpPr>
              <p:cNvPr id="990" name="Freeform 25"/>
              <p:cNvSpPr>
                <a:spLocks noChangeAspect="1"/>
              </p:cNvSpPr>
              <p:nvPr>
                <p:custDataLst>
                  <p:tags r:id="rId178"/>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991" name="Picture 3"/>
              <p:cNvPicPr>
                <a:picLocks noChangeAspect="1" noChangeArrowheads="1"/>
              </p:cNvPicPr>
              <p:nvPr/>
            </p:nvPicPr>
            <p:blipFill>
              <a:blip r:embed="rId574"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992" name="Picture 3"/>
              <p:cNvPicPr>
                <a:picLocks noChangeAspect="1" noChangeArrowheads="1"/>
              </p:cNvPicPr>
              <p:nvPr/>
            </p:nvPicPr>
            <p:blipFill>
              <a:blip r:embed="rId574"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993" name="Picture 3"/>
              <p:cNvPicPr>
                <a:picLocks noChangeAspect="1" noChangeArrowheads="1"/>
              </p:cNvPicPr>
              <p:nvPr/>
            </p:nvPicPr>
            <p:blipFill>
              <a:blip r:embed="rId574"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910" name="Rectangle 5"/>
            <p:cNvSpPr>
              <a:spLocks noChangeArrowheads="1"/>
            </p:cNvSpPr>
            <p:nvPr>
              <p:custDataLst>
                <p:tags r:id="rId131"/>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911" name="Rectangle 5"/>
            <p:cNvSpPr>
              <a:spLocks noChangeArrowheads="1"/>
            </p:cNvSpPr>
            <p:nvPr>
              <p:custDataLst>
                <p:tags r:id="rId132"/>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912" name="Rectangle 5"/>
            <p:cNvSpPr>
              <a:spLocks noChangeArrowheads="1"/>
            </p:cNvSpPr>
            <p:nvPr>
              <p:custDataLst>
                <p:tags r:id="rId133"/>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913" name="Rectangle 5"/>
            <p:cNvSpPr>
              <a:spLocks noChangeArrowheads="1"/>
            </p:cNvSpPr>
            <p:nvPr>
              <p:custDataLst>
                <p:tags r:id="rId134"/>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Data to guide national decision making</a:t>
              </a:r>
            </a:p>
          </p:txBody>
        </p:sp>
        <p:pic>
          <p:nvPicPr>
            <p:cNvPr id="914" name="Picture 21"/>
            <p:cNvPicPr>
              <a:picLocks noChangeAspect="1" noChangeArrowheads="1"/>
            </p:cNvPicPr>
            <p:nvPr>
              <p:custDataLst>
                <p:tags r:id="rId135"/>
              </p:custDataLst>
            </p:nvPr>
          </p:nvPicPr>
          <p:blipFill>
            <a:blip r:embed="rId575"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915" name="Rectangle 5"/>
            <p:cNvSpPr>
              <a:spLocks noChangeArrowheads="1"/>
            </p:cNvSpPr>
            <p:nvPr>
              <p:custDataLst>
                <p:tags r:id="rId136"/>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916" name="Picture 5"/>
            <p:cNvPicPr>
              <a:picLocks noChangeAspect="1" noChangeArrowheads="1"/>
            </p:cNvPicPr>
            <p:nvPr>
              <p:custDataLst>
                <p:tags r:id="rId137"/>
              </p:custDataLst>
            </p:nvPr>
          </p:nvPicPr>
          <p:blipFill>
            <a:blip r:embed="rId576"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917" name="Straight Connector 916"/>
            <p:cNvCxnSpPr/>
            <p:nvPr>
              <p:custDataLst>
                <p:tags r:id="rId138"/>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918" name="Rectangle 5"/>
            <p:cNvSpPr>
              <a:spLocks noChangeArrowheads="1"/>
            </p:cNvSpPr>
            <p:nvPr>
              <p:custDataLst>
                <p:tags r:id="rId139"/>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919" name="Rectangle 5"/>
            <p:cNvSpPr>
              <a:spLocks noChangeArrowheads="1"/>
            </p:cNvSpPr>
            <p:nvPr>
              <p:custDataLst>
                <p:tags r:id="rId140"/>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35" name="Group 435"/>
            <p:cNvGrpSpPr/>
            <p:nvPr>
              <p:custDataLst>
                <p:tags r:id="rId141"/>
              </p:custDataLst>
            </p:nvPr>
          </p:nvGrpSpPr>
          <p:grpSpPr>
            <a:xfrm>
              <a:off x="5851932" y="2523591"/>
              <a:ext cx="249647" cy="251917"/>
              <a:chOff x="7230319" y="326252"/>
              <a:chExt cx="506784" cy="510648"/>
            </a:xfrm>
          </p:grpSpPr>
          <p:pic>
            <p:nvPicPr>
              <p:cNvPr id="984" name="Picture 5"/>
              <p:cNvPicPr>
                <a:picLocks noChangeAspect="1" noChangeArrowheads="1"/>
              </p:cNvPicPr>
              <p:nvPr>
                <p:custDataLst>
                  <p:tags r:id="rId172"/>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985" name="Picture 17"/>
              <p:cNvPicPr>
                <a:picLocks noChangeAspect="1" noChangeArrowheads="1"/>
              </p:cNvPicPr>
              <p:nvPr>
                <p:custDataLst>
                  <p:tags r:id="rId173"/>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986" name="Picture 17"/>
              <p:cNvPicPr>
                <a:picLocks noChangeAspect="1" noChangeArrowheads="1"/>
              </p:cNvPicPr>
              <p:nvPr>
                <p:custDataLst>
                  <p:tags r:id="rId174"/>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987" name="Picture 5"/>
              <p:cNvPicPr>
                <a:picLocks noChangeAspect="1" noChangeArrowheads="1"/>
              </p:cNvPicPr>
              <p:nvPr>
                <p:custDataLst>
                  <p:tags r:id="rId175"/>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988" name="Picture 17"/>
              <p:cNvPicPr>
                <a:picLocks noChangeAspect="1" noChangeArrowheads="1"/>
              </p:cNvPicPr>
              <p:nvPr>
                <p:custDataLst>
                  <p:tags r:id="rId176"/>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989" name="Picture 5"/>
              <p:cNvPicPr>
                <a:picLocks noChangeAspect="1" noChangeArrowheads="1"/>
              </p:cNvPicPr>
              <p:nvPr>
                <p:custDataLst>
                  <p:tags r:id="rId177"/>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921" name="Rectangle 5"/>
            <p:cNvSpPr>
              <a:spLocks noChangeArrowheads="1"/>
            </p:cNvSpPr>
            <p:nvPr>
              <p:custDataLst>
                <p:tags r:id="rId142"/>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922" name="Picture 7" descr="C:\Users\mattha\AppData\Local\Microsoft\Windows\Temporary Internet Files\Content.IE5\A0YJT0Y2\MC900368410[1].wmf"/>
            <p:cNvPicPr>
              <a:picLocks noChangeAspect="1" noChangeArrowheads="1"/>
            </p:cNvPicPr>
            <p:nvPr>
              <p:custDataLst>
                <p:tags r:id="rId143"/>
              </p:custDataLst>
            </p:nvPr>
          </p:nvPicPr>
          <p:blipFill>
            <a:blip r:embed="rId578"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923" name="Picture 9" descr="C:\Users\mattha\AppData\Local\Microsoft\Windows\Temporary Internet Files\Content.IE5\WZUD8JML\MC900286861[1].wmf"/>
            <p:cNvPicPr>
              <a:picLocks noChangeAspect="1" noChangeArrowheads="1"/>
            </p:cNvPicPr>
            <p:nvPr>
              <p:custDataLst>
                <p:tags r:id="rId144"/>
              </p:custDataLst>
            </p:nvPr>
          </p:nvPicPr>
          <p:blipFill>
            <a:blip r:embed="rId579"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924" name="Picture 15" descr="C:\Users\mattha\AppData\Local\Microsoft\Windows\Temporary Internet Files\Content.IE5\6RMOFZA8\MC900434820[1].png"/>
            <p:cNvPicPr>
              <a:picLocks noChangeAspect="1" noChangeArrowheads="1"/>
            </p:cNvPicPr>
            <p:nvPr>
              <p:custDataLst>
                <p:tags r:id="rId145"/>
              </p:custDataLst>
            </p:nvPr>
          </p:nvPicPr>
          <p:blipFill>
            <a:blip r:embed="rId580" cstate="print">
              <a:duotone>
                <a:schemeClr val="accent4">
                  <a:shade val="45000"/>
                  <a:satMod val="135000"/>
                </a:schemeClr>
                <a:prstClr val="white"/>
              </a:duotone>
              <a:extLst>
                <a:ext uri="{BEBA8EAE-BF5A-486C-A8C5-ECC9F3942E4B}">
                  <a14:imgProps xmlns:a14="http://schemas.microsoft.com/office/drawing/2010/main">
                    <a14:imgLayer r:embed="rId581">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925" name="Rectangle 5"/>
            <p:cNvSpPr>
              <a:spLocks noChangeArrowheads="1"/>
            </p:cNvSpPr>
            <p:nvPr>
              <p:custDataLst>
                <p:tags r:id="rId146"/>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a:t>
              </a:r>
              <a:r>
                <a:rPr lang="en-US" sz="900" dirty="0" smtClean="0">
                  <a:solidFill>
                    <a:srgbClr val="59452A"/>
                  </a:solidFill>
                  <a:latin typeface="Gill Sans MT" pitchFamily="34" charset="0"/>
                  <a:cs typeface="Arial" charset="0"/>
                </a:rPr>
                <a:t>ollection &amp; use of data</a:t>
              </a:r>
              <a:endParaRPr lang="en-US" sz="800" dirty="0">
                <a:solidFill>
                  <a:srgbClr val="59452A"/>
                </a:solidFill>
                <a:latin typeface="Gill Sans MT" pitchFamily="34" charset="0"/>
                <a:cs typeface="Arial" charset="0"/>
              </a:endParaRPr>
            </a:p>
          </p:txBody>
        </p:sp>
        <p:pic>
          <p:nvPicPr>
            <p:cNvPr id="926" name="Picture 27" descr="C:\Users\mattha\AppData\Local\Microsoft\Windows\Temporary Internet Files\Content.IE5\DT8ZIQ2F\MC900434829[1].png"/>
            <p:cNvPicPr>
              <a:picLocks noChangeAspect="1" noChangeArrowheads="1"/>
            </p:cNvPicPr>
            <p:nvPr>
              <p:custDataLst>
                <p:tags r:id="rId147"/>
              </p:custDataLst>
            </p:nvPr>
          </p:nvPicPr>
          <p:blipFill>
            <a:blip r:embed="rId582" cstate="print">
              <a:extLst>
                <a:ext uri="{BEBA8EAE-BF5A-486C-A8C5-ECC9F3942E4B}">
                  <a14:imgProps xmlns:a14="http://schemas.microsoft.com/office/drawing/2010/main">
                    <a14:imgLayer r:embed="rId58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927" name="Picture 35" descr="C:\Users\mattha\AppData\Local\Microsoft\Windows\Temporary Internet Files\Content.IE5\GIPOTG0L\MC900389208[1].wmf"/>
            <p:cNvPicPr>
              <a:picLocks noChangeAspect="1" noChangeArrowheads="1"/>
            </p:cNvPicPr>
            <p:nvPr>
              <p:custDataLst>
                <p:tags r:id="rId148"/>
              </p:custDataLst>
            </p:nvPr>
          </p:nvPicPr>
          <p:blipFill>
            <a:blip r:embed="rId584"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928" name="Picture 5"/>
            <p:cNvPicPr>
              <a:picLocks noChangeAspect="1" noChangeArrowheads="1"/>
            </p:cNvPicPr>
            <p:nvPr>
              <p:custDataLst>
                <p:tags r:id="rId149"/>
              </p:custDataLst>
            </p:nvPr>
          </p:nvPicPr>
          <p:blipFill>
            <a:blip r:embed="rId573"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929" name="Picture 48" descr="C:\Users\mattha\AppData\Local\Microsoft\Windows\Temporary Internet Files\Content.IE5\2H1X03YN\MC900431595[1].png"/>
            <p:cNvPicPr>
              <a:picLocks noChangeAspect="1" noChangeArrowheads="1"/>
            </p:cNvPicPr>
            <p:nvPr>
              <p:custDataLst>
                <p:tags r:id="rId150"/>
              </p:custDataLst>
            </p:nvPr>
          </p:nvPicPr>
          <p:blipFill>
            <a:blip r:embed="rId585" cstate="print">
              <a:duotone>
                <a:prstClr val="black"/>
                <a:schemeClr val="accent4">
                  <a:tint val="45000"/>
                  <a:satMod val="400000"/>
                </a:schemeClr>
              </a:duotone>
              <a:extLst>
                <a:ext uri="{BEBA8EAE-BF5A-486C-A8C5-ECC9F3942E4B}">
                  <a14:imgProps xmlns:a14="http://schemas.microsoft.com/office/drawing/2010/main">
                    <a14:imgLayer r:embed="rId58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930" name="Picture 50" descr="C:\Users\mattha\AppData\Local\Microsoft\Windows\Temporary Internet Files\Content.IE5\DT8ZIQ2F\MC900389384[1].wmf"/>
            <p:cNvPicPr>
              <a:picLocks noChangeAspect="1" noChangeArrowheads="1"/>
            </p:cNvPicPr>
            <p:nvPr>
              <p:custDataLst>
                <p:tags r:id="rId151"/>
              </p:custDataLst>
            </p:nvPr>
          </p:nvPicPr>
          <p:blipFill>
            <a:blip r:embed="rId58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931" name="Picture 53" descr="C:\Users\mattha\AppData\Local\Microsoft\Windows\Temporary Internet Files\Content.IE5\GIPOTG0L\MC900039023[1].wmf"/>
            <p:cNvPicPr>
              <a:picLocks noChangeAspect="1" noChangeArrowheads="1"/>
            </p:cNvPicPr>
            <p:nvPr>
              <p:custDataLst>
                <p:tags r:id="rId152"/>
              </p:custDataLst>
            </p:nvPr>
          </p:nvPicPr>
          <p:blipFill>
            <a:blip r:embed="rId588"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932" name="Picture 54" descr="C:\Users\mattha\AppData\Local\Microsoft\Windows\Temporary Internet Files\Content.IE5\GIPOTG0L\MC900431584[1].png"/>
            <p:cNvPicPr>
              <a:picLocks noChangeAspect="1" noChangeArrowheads="1"/>
            </p:cNvPicPr>
            <p:nvPr>
              <p:custDataLst>
                <p:tags r:id="rId153"/>
              </p:custDataLst>
            </p:nvPr>
          </p:nvPicPr>
          <p:blipFill>
            <a:blip r:embed="rId589" cstate="print">
              <a:extLst>
                <a:ext uri="{BEBA8EAE-BF5A-486C-A8C5-ECC9F3942E4B}">
                  <a14:imgProps xmlns:a14="http://schemas.microsoft.com/office/drawing/2010/main">
                    <a14:imgLayer r:embed="rId590">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933" name="Picture 57" descr="C:\Users\mattha\AppData\Local\Microsoft\Windows\Temporary Internet Files\Content.IE5\GIPOTG0L\MC900412770[1].wmf"/>
            <p:cNvPicPr>
              <a:picLocks noChangeAspect="1" noChangeArrowheads="1"/>
            </p:cNvPicPr>
            <p:nvPr>
              <p:custDataLst>
                <p:tags r:id="rId154"/>
              </p:custDataLst>
            </p:nvPr>
          </p:nvPicPr>
          <p:blipFill>
            <a:blip r:embed="rId591"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934" name="Picture 66" descr="C:\Users\mattha\AppData\Local\Microsoft\Windows\Temporary Internet Files\Content.IE5\GIPOTG0L\MC900442092[1].wmf"/>
            <p:cNvPicPr>
              <a:picLocks noChangeAspect="1" noChangeArrowheads="1"/>
            </p:cNvPicPr>
            <p:nvPr>
              <p:custDataLst>
                <p:tags r:id="rId155"/>
              </p:custDataLst>
            </p:nvPr>
          </p:nvPicPr>
          <p:blipFill>
            <a:blip r:embed="rId592"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440"/>
            <p:cNvGrpSpPr/>
            <p:nvPr>
              <p:custDataLst>
                <p:tags r:id="rId156"/>
              </p:custDataLst>
            </p:nvPr>
          </p:nvGrpSpPr>
          <p:grpSpPr>
            <a:xfrm>
              <a:off x="5244368" y="2613724"/>
              <a:ext cx="249647" cy="251917"/>
              <a:chOff x="7230319" y="326252"/>
              <a:chExt cx="506784" cy="510648"/>
            </a:xfrm>
          </p:grpSpPr>
          <p:pic>
            <p:nvPicPr>
              <p:cNvPr id="978" name="Picture 5"/>
              <p:cNvPicPr>
                <a:picLocks noChangeAspect="1" noChangeArrowheads="1"/>
              </p:cNvPicPr>
              <p:nvPr>
                <p:custDataLst>
                  <p:tags r:id="rId166"/>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979" name="Picture 17"/>
              <p:cNvPicPr>
                <a:picLocks noChangeAspect="1" noChangeArrowheads="1"/>
              </p:cNvPicPr>
              <p:nvPr>
                <p:custDataLst>
                  <p:tags r:id="rId167"/>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980" name="Picture 17"/>
              <p:cNvPicPr>
                <a:picLocks noChangeAspect="1" noChangeArrowheads="1"/>
              </p:cNvPicPr>
              <p:nvPr>
                <p:custDataLst>
                  <p:tags r:id="rId168"/>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981" name="Picture 5"/>
              <p:cNvPicPr>
                <a:picLocks noChangeAspect="1" noChangeArrowheads="1"/>
              </p:cNvPicPr>
              <p:nvPr>
                <p:custDataLst>
                  <p:tags r:id="rId169"/>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982" name="Picture 17"/>
              <p:cNvPicPr>
                <a:picLocks noChangeAspect="1" noChangeArrowheads="1"/>
              </p:cNvPicPr>
              <p:nvPr>
                <p:custDataLst>
                  <p:tags r:id="rId170"/>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983" name="Picture 5"/>
              <p:cNvPicPr>
                <a:picLocks noChangeAspect="1" noChangeArrowheads="1"/>
              </p:cNvPicPr>
              <p:nvPr>
                <p:custDataLst>
                  <p:tags r:id="rId171"/>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936" name="Rectangle 5"/>
            <p:cNvSpPr>
              <a:spLocks noChangeArrowheads="1"/>
            </p:cNvSpPr>
            <p:nvPr>
              <p:custDataLst>
                <p:tags r:id="rId157"/>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937" name="TextBox 936"/>
            <p:cNvSpPr txBox="1"/>
            <p:nvPr>
              <p:custDataLst>
                <p:tags r:id="rId158"/>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smtClean="0">
                  <a:solidFill>
                    <a:srgbClr val="59452A"/>
                  </a:solidFill>
                  <a:latin typeface="Gill Sans MT" pitchFamily="34" charset="0"/>
                  <a:cs typeface="Arial" pitchFamily="34" charset="0"/>
                </a:rPr>
                <a:t>--------------------     Supply chain data      -------------------</a:t>
              </a:r>
            </a:p>
          </p:txBody>
        </p:sp>
        <p:pic>
          <p:nvPicPr>
            <p:cNvPr id="938" name="Picture 5"/>
            <p:cNvPicPr>
              <a:picLocks noChangeAspect="1" noChangeArrowheads="1"/>
            </p:cNvPicPr>
            <p:nvPr>
              <p:custDataLst>
                <p:tags r:id="rId159"/>
              </p:custDataLst>
            </p:nvPr>
          </p:nvPicPr>
          <p:blipFill>
            <a:blip r:embed="rId573"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939" name="Picture 87" descr="C:\Users\mattha\AppData\Local\Microsoft\Windows\Temporary Internet Files\Content.IE5\DT8ZIQ2F\MC910216326[1].png"/>
            <p:cNvPicPr>
              <a:picLocks noChangeAspect="1" noChangeArrowheads="1"/>
            </p:cNvPicPr>
            <p:nvPr>
              <p:custDataLst>
                <p:tags r:id="rId160"/>
              </p:custDataLst>
            </p:nvPr>
          </p:nvPicPr>
          <p:blipFill>
            <a:blip r:embed="rId593" cstate="print">
              <a:duotone>
                <a:schemeClr val="accent5">
                  <a:shade val="45000"/>
                  <a:satMod val="135000"/>
                </a:schemeClr>
                <a:prstClr val="white"/>
              </a:duotone>
              <a:extLst>
                <a:ext uri="{BEBA8EAE-BF5A-486C-A8C5-ECC9F3942E4B}">
                  <a14:imgProps xmlns:a14="http://schemas.microsoft.com/office/drawing/2010/main">
                    <a14:imgLayer r:embed="rId59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940" name="Picture 4" descr="Data Chart Clip Art"/>
            <p:cNvPicPr>
              <a:picLocks noChangeAspect="1" noChangeArrowheads="1"/>
            </p:cNvPicPr>
            <p:nvPr>
              <p:custDataLst>
                <p:tags r:id="rId161"/>
              </p:custDataLst>
            </p:nvPr>
          </p:nvPicPr>
          <p:blipFill>
            <a:blip r:embed="rId595" cstate="print"/>
            <a:srcRect/>
            <a:stretch>
              <a:fillRect/>
            </a:stretch>
          </p:blipFill>
          <p:spPr bwMode="auto">
            <a:xfrm>
              <a:off x="3571875" y="2470595"/>
              <a:ext cx="247650" cy="236093"/>
            </a:xfrm>
            <a:prstGeom prst="rect">
              <a:avLst/>
            </a:prstGeom>
            <a:noFill/>
          </p:spPr>
        </p:pic>
        <p:grpSp>
          <p:nvGrpSpPr>
            <p:cNvPr id="37" name="Group 848"/>
            <p:cNvGrpSpPr/>
            <p:nvPr>
              <p:custDataLst>
                <p:tags r:id="rId162"/>
              </p:custDataLst>
            </p:nvPr>
          </p:nvGrpSpPr>
          <p:grpSpPr>
            <a:xfrm>
              <a:off x="2257425" y="3627438"/>
              <a:ext cx="274638" cy="333375"/>
              <a:chOff x="2257425" y="3627438"/>
              <a:chExt cx="274638" cy="333375"/>
            </a:xfrm>
          </p:grpSpPr>
          <p:sp>
            <p:nvSpPr>
              <p:cNvPr id="945"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46"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47"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48"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49"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0"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1"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2"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3"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4"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5"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6"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7"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8"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59"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0"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1"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2"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3"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4"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5"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6"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7"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8"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69"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0"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1"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2"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3"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4"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5"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6"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977"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942" name="Rectangle 5"/>
            <p:cNvSpPr>
              <a:spLocks noChangeArrowheads="1"/>
            </p:cNvSpPr>
            <p:nvPr>
              <p:custDataLst>
                <p:tags r:id="rId163"/>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ENABLING PARTNER ENVIRONMENT</a:t>
              </a:r>
            </a:p>
          </p:txBody>
        </p:sp>
        <p:pic>
          <p:nvPicPr>
            <p:cNvPr id="943" name="Picture 2" descr="https://encrypted-tbn1.google.com/images?q=tbn:ANd9GcQ2iDgw2b5ZvUXP-l4Qh60g3Q0yQgF2uKGxP2r60bac0hT5CFlVgw"/>
            <p:cNvPicPr>
              <a:picLocks noChangeAspect="1" noChangeArrowheads="1"/>
            </p:cNvPicPr>
            <p:nvPr>
              <p:custDataLst>
                <p:tags r:id="rId164"/>
              </p:custDataLst>
            </p:nvPr>
          </p:nvPicPr>
          <p:blipFill>
            <a:blip r:embed="rId596"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7">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944" name="Picture 3"/>
            <p:cNvPicPr>
              <a:picLocks noChangeAspect="1" noChangeArrowheads="1"/>
            </p:cNvPicPr>
            <p:nvPr>
              <p:custDataLst>
                <p:tags r:id="rId165"/>
              </p:custDataLst>
            </p:nvPr>
          </p:nvPicPr>
          <p:blipFill>
            <a:blip r:embed="rId598"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sp>
        <p:nvSpPr>
          <p:cNvPr id="994" name="Rounded Rectangle 993"/>
          <p:cNvSpPr/>
          <p:nvPr>
            <p:custDataLst>
              <p:tags r:id="rId3"/>
            </p:custDataLst>
          </p:nvPr>
        </p:nvSpPr>
        <p:spPr>
          <a:xfrm>
            <a:off x="190754" y="6599210"/>
            <a:ext cx="1619348" cy="189781"/>
          </a:xfrm>
          <a:prstGeom prst="roundRect">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91546" rIns="45720"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smtClean="0">
                <a:solidFill>
                  <a:srgbClr val="FFFFFF"/>
                </a:solidFill>
              </a:rPr>
              <a:t>System components</a:t>
            </a:r>
            <a:endParaRPr lang="en-US" sz="1000" b="1" dirty="0">
              <a:solidFill>
                <a:srgbClr val="FFFFFF"/>
              </a:solidFill>
            </a:endParaRPr>
          </a:p>
        </p:txBody>
      </p:sp>
      <p:grpSp>
        <p:nvGrpSpPr>
          <p:cNvPr id="38" name="Group 994"/>
          <p:cNvGrpSpPr/>
          <p:nvPr>
            <p:custDataLst>
              <p:tags r:id="rId4"/>
            </p:custDataLst>
          </p:nvPr>
        </p:nvGrpSpPr>
        <p:grpSpPr>
          <a:xfrm>
            <a:off x="1587236" y="5877943"/>
            <a:ext cx="2000402" cy="402028"/>
            <a:chOff x="1587236" y="5882315"/>
            <a:chExt cx="2000402" cy="402028"/>
          </a:xfrm>
        </p:grpSpPr>
        <p:sp>
          <p:nvSpPr>
            <p:cNvPr id="996" name="Rectangle 5"/>
            <p:cNvSpPr>
              <a:spLocks noChangeArrowheads="1"/>
            </p:cNvSpPr>
            <p:nvPr>
              <p:custDataLst>
                <p:tags r:id="rId99"/>
              </p:custDataLst>
            </p:nvPr>
          </p:nvSpPr>
          <p:spPr bwMode="gray">
            <a:xfrm>
              <a:off x="1624458" y="5943600"/>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POLITICAL COMMITMENT</a:t>
              </a:r>
            </a:p>
          </p:txBody>
        </p:sp>
        <p:sp>
          <p:nvSpPr>
            <p:cNvPr id="997" name="Rounded Rectangle 996"/>
            <p:cNvSpPr/>
            <p:nvPr>
              <p:custDataLst>
                <p:tags r:id="rId100"/>
              </p:custDataLst>
            </p:nvPr>
          </p:nvSpPr>
          <p:spPr>
            <a:xfrm>
              <a:off x="1587236" y="5882315"/>
              <a:ext cx="2000402" cy="402028"/>
            </a:xfrm>
            <a:prstGeom prst="roundRect">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1546" rIns="0"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a:solidFill>
                    <a:srgbClr val="FFFFFF"/>
                  </a:solidFill>
                </a:rPr>
                <a:t>Political commitment</a:t>
              </a:r>
            </a:p>
          </p:txBody>
        </p:sp>
      </p:grpSp>
      <p:grpSp>
        <p:nvGrpSpPr>
          <p:cNvPr id="39" name="Group 997"/>
          <p:cNvGrpSpPr/>
          <p:nvPr>
            <p:custDataLst>
              <p:tags r:id="rId5"/>
            </p:custDataLst>
          </p:nvPr>
        </p:nvGrpSpPr>
        <p:grpSpPr>
          <a:xfrm>
            <a:off x="3732957" y="5877943"/>
            <a:ext cx="2006600" cy="406400"/>
            <a:chOff x="3722700" y="5877943"/>
            <a:chExt cx="2006600" cy="406400"/>
          </a:xfrm>
        </p:grpSpPr>
        <p:sp>
          <p:nvSpPr>
            <p:cNvPr id="999" name="Rectangle 5"/>
            <p:cNvSpPr>
              <a:spLocks noChangeArrowheads="1"/>
            </p:cNvSpPr>
            <p:nvPr>
              <p:custDataLst>
                <p:tags r:id="rId97"/>
              </p:custDataLst>
            </p:nvPr>
          </p:nvSpPr>
          <p:spPr bwMode="gray">
            <a:xfrm>
              <a:off x="3773303" y="5925836"/>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FINANCING &amp; PRICING</a:t>
              </a:r>
            </a:p>
          </p:txBody>
        </p:sp>
        <p:sp>
          <p:nvSpPr>
            <p:cNvPr id="1000" name="Rounded Rectangle 999"/>
            <p:cNvSpPr/>
            <p:nvPr>
              <p:custDataLst>
                <p:tags r:id="rId98"/>
              </p:custDataLst>
            </p:nvPr>
          </p:nvSpPr>
          <p:spPr>
            <a:xfrm>
              <a:off x="3722700" y="5877943"/>
              <a:ext cx="2006600" cy="406400"/>
            </a:xfrm>
            <a:prstGeom prst="roundRect">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93006" tIns="91546" rIns="93006"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a:solidFill>
                    <a:srgbClr val="FFFFFF"/>
                  </a:solidFill>
                </a:rPr>
                <a:t>Financing and pricing</a:t>
              </a:r>
            </a:p>
          </p:txBody>
        </p:sp>
      </p:grpSp>
      <p:sp>
        <p:nvSpPr>
          <p:cNvPr id="1001" name="Freeform 1000"/>
          <p:cNvSpPr/>
          <p:nvPr>
            <p:custDataLst>
              <p:tags r:id="rId6"/>
            </p:custDataLst>
          </p:nvPr>
        </p:nvSpPr>
        <p:spPr bwMode="gray">
          <a:xfrm>
            <a:off x="5330589" y="1200073"/>
            <a:ext cx="2559320" cy="1286421"/>
          </a:xfrm>
          <a:custGeom>
            <a:avLst/>
            <a:gdLst>
              <a:gd name="connsiteX0" fmla="*/ 0 w 923027"/>
              <a:gd name="connsiteY0" fmla="*/ 0 h 1069676"/>
              <a:gd name="connsiteX1" fmla="*/ 923027 w 923027"/>
              <a:gd name="connsiteY1" fmla="*/ 0 h 1069676"/>
              <a:gd name="connsiteX2" fmla="*/ 923027 w 923027"/>
              <a:gd name="connsiteY2" fmla="*/ 1069676 h 1069676"/>
              <a:gd name="connsiteX3" fmla="*/ 0 w 923027"/>
              <a:gd name="connsiteY3" fmla="*/ 1069676 h 1069676"/>
              <a:gd name="connsiteX4" fmla="*/ 0 w 923027"/>
              <a:gd name="connsiteY4" fmla="*/ 0 h 1069676"/>
              <a:gd name="connsiteX0" fmla="*/ 0 w 923027"/>
              <a:gd name="connsiteY0" fmla="*/ 17252 h 1086928"/>
              <a:gd name="connsiteX1" fmla="*/ 483080 w 923027"/>
              <a:gd name="connsiteY1" fmla="*/ 0 h 1086928"/>
              <a:gd name="connsiteX2" fmla="*/ 923027 w 923027"/>
              <a:gd name="connsiteY2" fmla="*/ 17252 h 1086928"/>
              <a:gd name="connsiteX3" fmla="*/ 923027 w 923027"/>
              <a:gd name="connsiteY3" fmla="*/ 1086928 h 1086928"/>
              <a:gd name="connsiteX4" fmla="*/ 0 w 923027"/>
              <a:gd name="connsiteY4" fmla="*/ 1086928 h 1086928"/>
              <a:gd name="connsiteX5" fmla="*/ 0 w 923027"/>
              <a:gd name="connsiteY5" fmla="*/ 17252 h 1086928"/>
              <a:gd name="connsiteX0" fmla="*/ 0 w 923027"/>
              <a:gd name="connsiteY0" fmla="*/ 17252 h 1086928"/>
              <a:gd name="connsiteX1" fmla="*/ 483080 w 923027"/>
              <a:gd name="connsiteY1" fmla="*/ 0 h 1086928"/>
              <a:gd name="connsiteX2" fmla="*/ 741872 w 923027"/>
              <a:gd name="connsiteY2" fmla="*/ 0 h 1086928"/>
              <a:gd name="connsiteX3" fmla="*/ 923027 w 923027"/>
              <a:gd name="connsiteY3" fmla="*/ 17252 h 1086928"/>
              <a:gd name="connsiteX4" fmla="*/ 923027 w 923027"/>
              <a:gd name="connsiteY4" fmla="*/ 1086928 h 1086928"/>
              <a:gd name="connsiteX5" fmla="*/ 0 w 923027"/>
              <a:gd name="connsiteY5" fmla="*/ 1086928 h 1086928"/>
              <a:gd name="connsiteX6" fmla="*/ 0 w 923027"/>
              <a:gd name="connsiteY6"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0 w 923027"/>
              <a:gd name="connsiteY6" fmla="*/ 1086928 h 1086928"/>
              <a:gd name="connsiteX7" fmla="*/ 0 w 923027"/>
              <a:gd name="connsiteY7"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0 w 923027"/>
              <a:gd name="connsiteY7" fmla="*/ 1086928 h 1086928"/>
              <a:gd name="connsiteX8" fmla="*/ 0 w 923027"/>
              <a:gd name="connsiteY8"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500332 w 923027"/>
              <a:gd name="connsiteY7" fmla="*/ 1078301 h 1086928"/>
              <a:gd name="connsiteX8" fmla="*/ 0 w 923027"/>
              <a:gd name="connsiteY8" fmla="*/ 1086928 h 1086928"/>
              <a:gd name="connsiteX9" fmla="*/ 0 w 923027"/>
              <a:gd name="connsiteY9"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707366 w 923027"/>
              <a:gd name="connsiteY6" fmla="*/ 1086928 h 1086928"/>
              <a:gd name="connsiteX7" fmla="*/ 241540 w 923027"/>
              <a:gd name="connsiteY7" fmla="*/ 1078301 h 1086928"/>
              <a:gd name="connsiteX8" fmla="*/ 500332 w 923027"/>
              <a:gd name="connsiteY8" fmla="*/ 1078301 h 1086928"/>
              <a:gd name="connsiteX9" fmla="*/ 0 w 923027"/>
              <a:gd name="connsiteY9" fmla="*/ 1086928 h 1086928"/>
              <a:gd name="connsiteX10" fmla="*/ 0 w 923027"/>
              <a:gd name="connsiteY10" fmla="*/ 17252 h 1086928"/>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241540 w 923027"/>
              <a:gd name="connsiteY7" fmla="*/ 1078301 h 1164566"/>
              <a:gd name="connsiteX8" fmla="*/ 500332 w 923027"/>
              <a:gd name="connsiteY8" fmla="*/ 1078301 h 1164566"/>
              <a:gd name="connsiteX9" fmla="*/ 0 w 923027"/>
              <a:gd name="connsiteY9" fmla="*/ 1086928 h 1164566"/>
              <a:gd name="connsiteX10" fmla="*/ 0 w 923027"/>
              <a:gd name="connsiteY10" fmla="*/ 17252 h 1164566"/>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41540 w 923027"/>
              <a:gd name="connsiteY7" fmla="*/ 1078301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07035 w 923027"/>
              <a:gd name="connsiteY7" fmla="*/ 116456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527075 w 923027"/>
              <a:gd name="connsiteY7" fmla="*/ 106169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527075 w 923027"/>
              <a:gd name="connsiteY7" fmla="*/ 1061695 h 1164566"/>
              <a:gd name="connsiteX8" fmla="*/ 253689 w 923027"/>
              <a:gd name="connsiteY8" fmla="*/ 1161762 h 1164566"/>
              <a:gd name="connsiteX9" fmla="*/ 0 w 923027"/>
              <a:gd name="connsiteY9" fmla="*/ 1086928 h 1164566"/>
              <a:gd name="connsiteX10" fmla="*/ 0 w 923027"/>
              <a:gd name="connsiteY10" fmla="*/ 17252 h 1164566"/>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253689 w 923027"/>
              <a:gd name="connsiteY8" fmla="*/ 116176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7373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6837"/>
              <a:gd name="connsiteY0" fmla="*/ 17252 h 1175995"/>
              <a:gd name="connsiteX1" fmla="*/ 250166 w 926837"/>
              <a:gd name="connsiteY1" fmla="*/ 0 h 1175995"/>
              <a:gd name="connsiteX2" fmla="*/ 483080 w 926837"/>
              <a:gd name="connsiteY2" fmla="*/ 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593282 w 926837"/>
              <a:gd name="connsiteY3" fmla="*/ 381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30480 h 1189223"/>
              <a:gd name="connsiteX1" fmla="*/ 250166 w 926837"/>
              <a:gd name="connsiteY1" fmla="*/ 1322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0 w 926837"/>
              <a:gd name="connsiteY0" fmla="*/ 3048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312420 w 926837"/>
              <a:gd name="connsiteY0" fmla="*/ 2286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12420 w 926837"/>
              <a:gd name="connsiteY0" fmla="*/ 2286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20040 w 926837"/>
              <a:gd name="connsiteY0" fmla="*/ 1143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926837"/>
              <a:gd name="connsiteY0" fmla="*/ 11430 h 1189223"/>
              <a:gd name="connsiteX1" fmla="*/ 402566 w 926837"/>
              <a:gd name="connsiteY1" fmla="*/ 24658 h 1189223"/>
              <a:gd name="connsiteX2" fmla="*/ 49070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1596219"/>
              <a:gd name="connsiteY0" fmla="*/ 11430 h 1189223"/>
              <a:gd name="connsiteX1" fmla="*/ 402566 w 1596219"/>
              <a:gd name="connsiteY1" fmla="*/ 24658 h 1189223"/>
              <a:gd name="connsiteX2" fmla="*/ 490700 w 1596219"/>
              <a:gd name="connsiteY2" fmla="*/ 32278 h 1189223"/>
              <a:gd name="connsiteX3" fmla="*/ 593282 w 1596219"/>
              <a:gd name="connsiteY3" fmla="*/ 17038 h 1189223"/>
              <a:gd name="connsiteX4" fmla="*/ 663947 w 1596219"/>
              <a:gd name="connsiteY4" fmla="*/ 0 h 1189223"/>
              <a:gd name="connsiteX5" fmla="*/ 1596219 w 1596219"/>
              <a:gd name="connsiteY5" fmla="*/ 661601 h 1189223"/>
              <a:gd name="connsiteX6" fmla="*/ 715992 w 1596219"/>
              <a:gd name="connsiteY6" fmla="*/ 1177794 h 1189223"/>
              <a:gd name="connsiteX7" fmla="*/ 473735 w 1596219"/>
              <a:gd name="connsiteY7" fmla="*/ 1189223 h 1189223"/>
              <a:gd name="connsiteX8" fmla="*/ 177489 w 1596219"/>
              <a:gd name="connsiteY8" fmla="*/ 1167370 h 1189223"/>
              <a:gd name="connsiteX9" fmla="*/ 0 w 1596219"/>
              <a:gd name="connsiteY9" fmla="*/ 1100156 h 1189223"/>
              <a:gd name="connsiteX10" fmla="*/ 320040 w 1596219"/>
              <a:gd name="connsiteY10" fmla="*/ 11430 h 1189223"/>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715992 w 1596219"/>
              <a:gd name="connsiteY6" fmla="*/ 1210867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473735 w 1596219"/>
              <a:gd name="connsiteY8" fmla="*/ 1222296 h 1222296"/>
              <a:gd name="connsiteX9" fmla="*/ 177489 w 1596219"/>
              <a:gd name="connsiteY9" fmla="*/ 1200443 h 1222296"/>
              <a:gd name="connsiteX10" fmla="*/ 0 w 1596219"/>
              <a:gd name="connsiteY10" fmla="*/ 1133229 h 1222296"/>
              <a:gd name="connsiteX11" fmla="*/ 320040 w 1596219"/>
              <a:gd name="connsiteY11"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473735 w 1596219"/>
              <a:gd name="connsiteY9" fmla="*/ 1222296 h 1222296"/>
              <a:gd name="connsiteX10" fmla="*/ 177489 w 1596219"/>
              <a:gd name="connsiteY10" fmla="*/ 1200443 h 1222296"/>
              <a:gd name="connsiteX11" fmla="*/ 0 w 1596219"/>
              <a:gd name="connsiteY11" fmla="*/ 1133229 h 1222296"/>
              <a:gd name="connsiteX12" fmla="*/ 320040 w 1596219"/>
              <a:gd name="connsiteY12"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473735 w 1596219"/>
              <a:gd name="connsiteY10" fmla="*/ 1222296 h 1222296"/>
              <a:gd name="connsiteX11" fmla="*/ 177489 w 1596219"/>
              <a:gd name="connsiteY11" fmla="*/ 1200443 h 1222296"/>
              <a:gd name="connsiteX12" fmla="*/ 0 w 1596219"/>
              <a:gd name="connsiteY12" fmla="*/ 1133229 h 1222296"/>
              <a:gd name="connsiteX13" fmla="*/ 320040 w 1596219"/>
              <a:gd name="connsiteY13"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629774 w 1596219"/>
              <a:gd name="connsiteY10" fmla="*/ 1168177 h 1222296"/>
              <a:gd name="connsiteX11" fmla="*/ 473735 w 1596219"/>
              <a:gd name="connsiteY11" fmla="*/ 1222296 h 1222296"/>
              <a:gd name="connsiteX12" fmla="*/ 177489 w 1596219"/>
              <a:gd name="connsiteY12" fmla="*/ 1200443 h 1222296"/>
              <a:gd name="connsiteX13" fmla="*/ 0 w 1596219"/>
              <a:gd name="connsiteY13" fmla="*/ 1133229 h 1222296"/>
              <a:gd name="connsiteX14" fmla="*/ 320040 w 1596219"/>
              <a:gd name="connsiteY14"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314999 w 1596219"/>
              <a:gd name="connsiteY7" fmla="*/ 885554 h 1222296"/>
              <a:gd name="connsiteX8" fmla="*/ 1196174 w 1596219"/>
              <a:gd name="connsiteY8" fmla="*/ 933660 h 1222296"/>
              <a:gd name="connsiteX9" fmla="*/ 1045662 w 1596219"/>
              <a:gd name="connsiteY9" fmla="*/ 996799 h 1222296"/>
              <a:gd name="connsiteX10" fmla="*/ 827815 w 1596219"/>
              <a:gd name="connsiteY10" fmla="*/ 1086998 h 1222296"/>
              <a:gd name="connsiteX11" fmla="*/ 629774 w 1596219"/>
              <a:gd name="connsiteY11" fmla="*/ 1168177 h 1222296"/>
              <a:gd name="connsiteX12" fmla="*/ 473735 w 1596219"/>
              <a:gd name="connsiteY12" fmla="*/ 1222296 h 1222296"/>
              <a:gd name="connsiteX13" fmla="*/ 177489 w 1596219"/>
              <a:gd name="connsiteY13" fmla="*/ 1200443 h 1222296"/>
              <a:gd name="connsiteX14" fmla="*/ 0 w 1596219"/>
              <a:gd name="connsiteY14" fmla="*/ 1133229 h 1222296"/>
              <a:gd name="connsiteX15" fmla="*/ 320040 w 1596219"/>
              <a:gd name="connsiteY15"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532845 w 1596219"/>
              <a:gd name="connsiteY6" fmla="*/ 771302 h 1222296"/>
              <a:gd name="connsiteX7" fmla="*/ 1488356 w 1596219"/>
              <a:gd name="connsiteY7" fmla="*/ 820005 h 1222296"/>
              <a:gd name="connsiteX8" fmla="*/ 1314999 w 1596219"/>
              <a:gd name="connsiteY8" fmla="*/ 885554 h 1222296"/>
              <a:gd name="connsiteX9" fmla="*/ 1196174 w 1596219"/>
              <a:gd name="connsiteY9" fmla="*/ 933660 h 1222296"/>
              <a:gd name="connsiteX10" fmla="*/ 1045662 w 1596219"/>
              <a:gd name="connsiteY10" fmla="*/ 996799 h 1222296"/>
              <a:gd name="connsiteX11" fmla="*/ 827815 w 1596219"/>
              <a:gd name="connsiteY11" fmla="*/ 1086998 h 1222296"/>
              <a:gd name="connsiteX12" fmla="*/ 629774 w 1596219"/>
              <a:gd name="connsiteY12" fmla="*/ 1168177 h 1222296"/>
              <a:gd name="connsiteX13" fmla="*/ 473735 w 1596219"/>
              <a:gd name="connsiteY13" fmla="*/ 1222296 h 1222296"/>
              <a:gd name="connsiteX14" fmla="*/ 177489 w 1596219"/>
              <a:gd name="connsiteY14" fmla="*/ 1200443 h 1222296"/>
              <a:gd name="connsiteX15" fmla="*/ 0 w 1596219"/>
              <a:gd name="connsiteY15" fmla="*/ 1133229 h 1222296"/>
              <a:gd name="connsiteX16" fmla="*/ 320040 w 1596219"/>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88356 w 1607172"/>
              <a:gd name="connsiteY7" fmla="*/ 820005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715569 w 1607172"/>
              <a:gd name="connsiteY12" fmla="*/ 1164020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00443"/>
              <a:gd name="connsiteX1" fmla="*/ 402566 w 1607172"/>
              <a:gd name="connsiteY1" fmla="*/ 57731 h 1200443"/>
              <a:gd name="connsiteX2" fmla="*/ 490700 w 1607172"/>
              <a:gd name="connsiteY2" fmla="*/ 65351 h 1200443"/>
              <a:gd name="connsiteX3" fmla="*/ 593282 w 1607172"/>
              <a:gd name="connsiteY3" fmla="*/ 50111 h 1200443"/>
              <a:gd name="connsiteX4" fmla="*/ 632260 w 1607172"/>
              <a:gd name="connsiteY4" fmla="*/ 0 h 1200443"/>
              <a:gd name="connsiteX5" fmla="*/ 1607172 w 1607172"/>
              <a:gd name="connsiteY5" fmla="*/ 691903 h 1200443"/>
              <a:gd name="connsiteX6" fmla="*/ 1532845 w 1607172"/>
              <a:gd name="connsiteY6" fmla="*/ 771302 h 1200443"/>
              <a:gd name="connsiteX7" fmla="*/ 1431768 w 1607172"/>
              <a:gd name="connsiteY7" fmla="*/ 862961 h 1200443"/>
              <a:gd name="connsiteX8" fmla="*/ 1327777 w 1607172"/>
              <a:gd name="connsiteY8" fmla="*/ 931281 h 1200443"/>
              <a:gd name="connsiteX9" fmla="*/ 1185222 w 1607172"/>
              <a:gd name="connsiteY9" fmla="*/ 1005715 h 1200443"/>
              <a:gd name="connsiteX10" fmla="*/ 1032884 w 1607172"/>
              <a:gd name="connsiteY10" fmla="*/ 1078554 h 1200443"/>
              <a:gd name="connsiteX11" fmla="*/ 895357 w 1607172"/>
              <a:gd name="connsiteY11" fmla="*/ 1121639 h 1200443"/>
              <a:gd name="connsiteX12" fmla="*/ 715569 w 1607172"/>
              <a:gd name="connsiteY12" fmla="*/ 1164020 h 1200443"/>
              <a:gd name="connsiteX13" fmla="*/ 491990 w 1607172"/>
              <a:gd name="connsiteY13" fmla="*/ 1186269 h 1200443"/>
              <a:gd name="connsiteX14" fmla="*/ 177489 w 1607172"/>
              <a:gd name="connsiteY14" fmla="*/ 1200443 h 1200443"/>
              <a:gd name="connsiteX15" fmla="*/ 0 w 1607172"/>
              <a:gd name="connsiteY15" fmla="*/ 1133229 h 1200443"/>
              <a:gd name="connsiteX16" fmla="*/ 320040 w 1607172"/>
              <a:gd name="connsiteY16" fmla="*/ 44503 h 1200443"/>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0 w 1607172"/>
              <a:gd name="connsiteY15" fmla="*/ 1133229 h 1186269"/>
              <a:gd name="connsiteX16" fmla="*/ 320040 w 1607172"/>
              <a:gd name="connsiteY16"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54128 w 1607172"/>
              <a:gd name="connsiteY15" fmla="*/ 1157249 h 1186269"/>
              <a:gd name="connsiteX16" fmla="*/ 0 w 1607172"/>
              <a:gd name="connsiteY16" fmla="*/ 1133229 h 1186269"/>
              <a:gd name="connsiteX17" fmla="*/ 320040 w 1607172"/>
              <a:gd name="connsiteY17"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43175 w 1607172"/>
              <a:gd name="connsiteY15" fmla="*/ 1173877 h 1186269"/>
              <a:gd name="connsiteX16" fmla="*/ 0 w 1607172"/>
              <a:gd name="connsiteY16" fmla="*/ 1133229 h 1186269"/>
              <a:gd name="connsiteX17" fmla="*/ 320040 w 1607172"/>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0 w 1702094"/>
              <a:gd name="connsiteY16" fmla="*/ 1126301 h 1186269"/>
              <a:gd name="connsiteX17" fmla="*/ 414962 w 1702094"/>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2492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36189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48044 w 1702094"/>
              <a:gd name="connsiteY3" fmla="*/ 16855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55588 h 1205668"/>
              <a:gd name="connsiteX1" fmla="*/ 490187 w 1702094"/>
              <a:gd name="connsiteY1" fmla="*/ 61888 h 1205668"/>
              <a:gd name="connsiteX2" fmla="*/ 581971 w 1702094"/>
              <a:gd name="connsiteY2" fmla="*/ 55651 h 1205668"/>
              <a:gd name="connsiteX3" fmla="*/ 648044 w 1702094"/>
              <a:gd name="connsiteY3" fmla="*/ 36254 h 1205668"/>
              <a:gd name="connsiteX4" fmla="*/ 727182 w 1702094"/>
              <a:gd name="connsiteY4" fmla="*/ 0 h 1205668"/>
              <a:gd name="connsiteX5" fmla="*/ 1702094 w 1702094"/>
              <a:gd name="connsiteY5" fmla="*/ 711302 h 1205668"/>
              <a:gd name="connsiteX6" fmla="*/ 1627767 w 1702094"/>
              <a:gd name="connsiteY6" fmla="*/ 790701 h 1205668"/>
              <a:gd name="connsiteX7" fmla="*/ 1526690 w 1702094"/>
              <a:gd name="connsiteY7" fmla="*/ 882360 h 1205668"/>
              <a:gd name="connsiteX8" fmla="*/ 1422699 w 1702094"/>
              <a:gd name="connsiteY8" fmla="*/ 950680 h 1205668"/>
              <a:gd name="connsiteX9" fmla="*/ 1280144 w 1702094"/>
              <a:gd name="connsiteY9" fmla="*/ 1025114 h 1205668"/>
              <a:gd name="connsiteX10" fmla="*/ 1127806 w 1702094"/>
              <a:gd name="connsiteY10" fmla="*/ 1097953 h 1205668"/>
              <a:gd name="connsiteX11" fmla="*/ 990279 w 1702094"/>
              <a:gd name="connsiteY11" fmla="*/ 1141038 h 1205668"/>
              <a:gd name="connsiteX12" fmla="*/ 810491 w 1702094"/>
              <a:gd name="connsiteY12" fmla="*/ 1183419 h 1205668"/>
              <a:gd name="connsiteX13" fmla="*/ 586912 w 1702094"/>
              <a:gd name="connsiteY13" fmla="*/ 1205668 h 1205668"/>
              <a:gd name="connsiteX14" fmla="*/ 392889 w 1702094"/>
              <a:gd name="connsiteY14" fmla="*/ 1204600 h 1205668"/>
              <a:gd name="connsiteX15" fmla="*/ 238097 w 1702094"/>
              <a:gd name="connsiteY15" fmla="*/ 1193276 h 1205668"/>
              <a:gd name="connsiteX16" fmla="*/ 101191 w 1702094"/>
              <a:gd name="connsiteY16" fmla="*/ 1171105 h 1205668"/>
              <a:gd name="connsiteX17" fmla="*/ 0 w 1702094"/>
              <a:gd name="connsiteY17" fmla="*/ 1145700 h 1205668"/>
              <a:gd name="connsiteX18" fmla="*/ 414962 w 1702094"/>
              <a:gd name="connsiteY18" fmla="*/ 55588 h 1205668"/>
              <a:gd name="connsiteX0" fmla="*/ 414962 w 1702094"/>
              <a:gd name="connsiteY0" fmla="*/ 51431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414962 w 1702094"/>
              <a:gd name="connsiteY18" fmla="*/ 51431 h 1201511"/>
              <a:gd name="connsiteX0" fmla="*/ 53527 w 1702094"/>
              <a:gd name="connsiteY0" fmla="*/ 226025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53527 w 1702094"/>
              <a:gd name="connsiteY18" fmla="*/ 226025 h 1201511"/>
              <a:gd name="connsiteX0" fmla="*/ 53527 w 1702094"/>
              <a:gd name="connsiteY0" fmla="*/ 226025 h 1201511"/>
              <a:gd name="connsiteX1" fmla="*/ 77639 w 1702094"/>
              <a:gd name="connsiteY1" fmla="*/ 215697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53527 w 1702094"/>
              <a:gd name="connsiteY18" fmla="*/ 226025 h 1201511"/>
              <a:gd name="connsiteX0" fmla="*/ 53527 w 1702094"/>
              <a:gd name="connsiteY0" fmla="*/ 226025 h 1201511"/>
              <a:gd name="connsiteX1" fmla="*/ 77639 w 1702094"/>
              <a:gd name="connsiteY1" fmla="*/ 215697 h 1201511"/>
              <a:gd name="connsiteX2" fmla="*/ 648044 w 1702094"/>
              <a:gd name="connsiteY2" fmla="*/ 32097 h 1201511"/>
              <a:gd name="connsiteX3" fmla="*/ 705277 w 1702094"/>
              <a:gd name="connsiteY3" fmla="*/ 0 h 1201511"/>
              <a:gd name="connsiteX4" fmla="*/ 1702094 w 1702094"/>
              <a:gd name="connsiteY4" fmla="*/ 707145 h 1201511"/>
              <a:gd name="connsiteX5" fmla="*/ 1627767 w 1702094"/>
              <a:gd name="connsiteY5" fmla="*/ 786544 h 1201511"/>
              <a:gd name="connsiteX6" fmla="*/ 1526690 w 1702094"/>
              <a:gd name="connsiteY6" fmla="*/ 878203 h 1201511"/>
              <a:gd name="connsiteX7" fmla="*/ 1422699 w 1702094"/>
              <a:gd name="connsiteY7" fmla="*/ 946523 h 1201511"/>
              <a:gd name="connsiteX8" fmla="*/ 1280144 w 1702094"/>
              <a:gd name="connsiteY8" fmla="*/ 1020957 h 1201511"/>
              <a:gd name="connsiteX9" fmla="*/ 1127806 w 1702094"/>
              <a:gd name="connsiteY9" fmla="*/ 1093796 h 1201511"/>
              <a:gd name="connsiteX10" fmla="*/ 990279 w 1702094"/>
              <a:gd name="connsiteY10" fmla="*/ 1136881 h 1201511"/>
              <a:gd name="connsiteX11" fmla="*/ 810491 w 1702094"/>
              <a:gd name="connsiteY11" fmla="*/ 1179262 h 1201511"/>
              <a:gd name="connsiteX12" fmla="*/ 586912 w 1702094"/>
              <a:gd name="connsiteY12" fmla="*/ 1201511 h 1201511"/>
              <a:gd name="connsiteX13" fmla="*/ 392889 w 1702094"/>
              <a:gd name="connsiteY13" fmla="*/ 1200443 h 1201511"/>
              <a:gd name="connsiteX14" fmla="*/ 238097 w 1702094"/>
              <a:gd name="connsiteY14" fmla="*/ 1189119 h 1201511"/>
              <a:gd name="connsiteX15" fmla="*/ 101191 w 1702094"/>
              <a:gd name="connsiteY15" fmla="*/ 1166948 h 1201511"/>
              <a:gd name="connsiteX16" fmla="*/ 0 w 1702094"/>
              <a:gd name="connsiteY16" fmla="*/ 1141543 h 1201511"/>
              <a:gd name="connsiteX17" fmla="*/ 53527 w 1702094"/>
              <a:gd name="connsiteY17" fmla="*/ 226025 h 1201511"/>
              <a:gd name="connsiteX0" fmla="*/ 53527 w 1702094"/>
              <a:gd name="connsiteY0" fmla="*/ 226025 h 1201511"/>
              <a:gd name="connsiteX1" fmla="*/ 77639 w 1702094"/>
              <a:gd name="connsiteY1" fmla="*/ 215697 h 1201511"/>
              <a:gd name="connsiteX2" fmla="*/ 89463 w 1702094"/>
              <a:gd name="connsiteY2" fmla="*/ 201148 h 1201511"/>
              <a:gd name="connsiteX3" fmla="*/ 705277 w 1702094"/>
              <a:gd name="connsiteY3" fmla="*/ 0 h 1201511"/>
              <a:gd name="connsiteX4" fmla="*/ 1702094 w 1702094"/>
              <a:gd name="connsiteY4" fmla="*/ 707145 h 1201511"/>
              <a:gd name="connsiteX5" fmla="*/ 1627767 w 1702094"/>
              <a:gd name="connsiteY5" fmla="*/ 786544 h 1201511"/>
              <a:gd name="connsiteX6" fmla="*/ 1526690 w 1702094"/>
              <a:gd name="connsiteY6" fmla="*/ 878203 h 1201511"/>
              <a:gd name="connsiteX7" fmla="*/ 1422699 w 1702094"/>
              <a:gd name="connsiteY7" fmla="*/ 946523 h 1201511"/>
              <a:gd name="connsiteX8" fmla="*/ 1280144 w 1702094"/>
              <a:gd name="connsiteY8" fmla="*/ 1020957 h 1201511"/>
              <a:gd name="connsiteX9" fmla="*/ 1127806 w 1702094"/>
              <a:gd name="connsiteY9" fmla="*/ 1093796 h 1201511"/>
              <a:gd name="connsiteX10" fmla="*/ 990279 w 1702094"/>
              <a:gd name="connsiteY10" fmla="*/ 1136881 h 1201511"/>
              <a:gd name="connsiteX11" fmla="*/ 810491 w 1702094"/>
              <a:gd name="connsiteY11" fmla="*/ 1179262 h 1201511"/>
              <a:gd name="connsiteX12" fmla="*/ 586912 w 1702094"/>
              <a:gd name="connsiteY12" fmla="*/ 1201511 h 1201511"/>
              <a:gd name="connsiteX13" fmla="*/ 392889 w 1702094"/>
              <a:gd name="connsiteY13" fmla="*/ 1200443 h 1201511"/>
              <a:gd name="connsiteX14" fmla="*/ 238097 w 1702094"/>
              <a:gd name="connsiteY14" fmla="*/ 1189119 h 1201511"/>
              <a:gd name="connsiteX15" fmla="*/ 101191 w 1702094"/>
              <a:gd name="connsiteY15" fmla="*/ 1166948 h 1201511"/>
              <a:gd name="connsiteX16" fmla="*/ 0 w 1702094"/>
              <a:gd name="connsiteY16" fmla="*/ 1141543 h 1201511"/>
              <a:gd name="connsiteX17" fmla="*/ 53527 w 1702094"/>
              <a:gd name="connsiteY17" fmla="*/ 226025 h 1201511"/>
              <a:gd name="connsiteX0" fmla="*/ 53527 w 1702094"/>
              <a:gd name="connsiteY0" fmla="*/ 48660 h 1024146"/>
              <a:gd name="connsiteX1" fmla="*/ 77639 w 1702094"/>
              <a:gd name="connsiteY1" fmla="*/ 38332 h 1024146"/>
              <a:gd name="connsiteX2" fmla="*/ 89463 w 1702094"/>
              <a:gd name="connsiteY2" fmla="*/ 23783 h 1024146"/>
              <a:gd name="connsiteX3" fmla="*/ 135742 w 1702094"/>
              <a:gd name="connsiteY3" fmla="*/ 0 h 1024146"/>
              <a:gd name="connsiteX4" fmla="*/ 1702094 w 1702094"/>
              <a:gd name="connsiteY4" fmla="*/ 529780 h 1024146"/>
              <a:gd name="connsiteX5" fmla="*/ 1627767 w 1702094"/>
              <a:gd name="connsiteY5" fmla="*/ 609179 h 1024146"/>
              <a:gd name="connsiteX6" fmla="*/ 1526690 w 1702094"/>
              <a:gd name="connsiteY6" fmla="*/ 700838 h 1024146"/>
              <a:gd name="connsiteX7" fmla="*/ 1422699 w 1702094"/>
              <a:gd name="connsiteY7" fmla="*/ 769158 h 1024146"/>
              <a:gd name="connsiteX8" fmla="*/ 1280144 w 1702094"/>
              <a:gd name="connsiteY8" fmla="*/ 843592 h 1024146"/>
              <a:gd name="connsiteX9" fmla="*/ 1127806 w 1702094"/>
              <a:gd name="connsiteY9" fmla="*/ 916431 h 1024146"/>
              <a:gd name="connsiteX10" fmla="*/ 990279 w 1702094"/>
              <a:gd name="connsiteY10" fmla="*/ 959516 h 1024146"/>
              <a:gd name="connsiteX11" fmla="*/ 810491 w 1702094"/>
              <a:gd name="connsiteY11" fmla="*/ 1001897 h 1024146"/>
              <a:gd name="connsiteX12" fmla="*/ 586912 w 1702094"/>
              <a:gd name="connsiteY12" fmla="*/ 1024146 h 1024146"/>
              <a:gd name="connsiteX13" fmla="*/ 392889 w 1702094"/>
              <a:gd name="connsiteY13" fmla="*/ 1023078 h 1024146"/>
              <a:gd name="connsiteX14" fmla="*/ 238097 w 1702094"/>
              <a:gd name="connsiteY14" fmla="*/ 1011754 h 1024146"/>
              <a:gd name="connsiteX15" fmla="*/ 101191 w 1702094"/>
              <a:gd name="connsiteY15" fmla="*/ 989583 h 1024146"/>
              <a:gd name="connsiteX16" fmla="*/ 0 w 1702094"/>
              <a:gd name="connsiteY16" fmla="*/ 964178 h 1024146"/>
              <a:gd name="connsiteX17" fmla="*/ 53527 w 1702094"/>
              <a:gd name="connsiteY17" fmla="*/ 48660 h 1024146"/>
              <a:gd name="connsiteX0" fmla="*/ 53527 w 1627767"/>
              <a:gd name="connsiteY0" fmla="*/ 48660 h 1024146"/>
              <a:gd name="connsiteX1" fmla="*/ 77639 w 1627767"/>
              <a:gd name="connsiteY1" fmla="*/ 38332 h 1024146"/>
              <a:gd name="connsiteX2" fmla="*/ 89463 w 1627767"/>
              <a:gd name="connsiteY2" fmla="*/ 23783 h 1024146"/>
              <a:gd name="connsiteX3" fmla="*/ 135742 w 1627767"/>
              <a:gd name="connsiteY3" fmla="*/ 0 h 1024146"/>
              <a:gd name="connsiteX4" fmla="*/ 1282245 w 1627767"/>
              <a:gd name="connsiteY4" fmla="*/ 130709 h 1024146"/>
              <a:gd name="connsiteX5" fmla="*/ 1627767 w 1627767"/>
              <a:gd name="connsiteY5" fmla="*/ 609179 h 1024146"/>
              <a:gd name="connsiteX6" fmla="*/ 1526690 w 1627767"/>
              <a:gd name="connsiteY6" fmla="*/ 700838 h 1024146"/>
              <a:gd name="connsiteX7" fmla="*/ 1422699 w 1627767"/>
              <a:gd name="connsiteY7" fmla="*/ 769158 h 1024146"/>
              <a:gd name="connsiteX8" fmla="*/ 1280144 w 1627767"/>
              <a:gd name="connsiteY8" fmla="*/ 843592 h 1024146"/>
              <a:gd name="connsiteX9" fmla="*/ 1127806 w 1627767"/>
              <a:gd name="connsiteY9" fmla="*/ 916431 h 1024146"/>
              <a:gd name="connsiteX10" fmla="*/ 990279 w 1627767"/>
              <a:gd name="connsiteY10" fmla="*/ 959516 h 1024146"/>
              <a:gd name="connsiteX11" fmla="*/ 810491 w 1627767"/>
              <a:gd name="connsiteY11" fmla="*/ 1001897 h 1024146"/>
              <a:gd name="connsiteX12" fmla="*/ 586912 w 1627767"/>
              <a:gd name="connsiteY12" fmla="*/ 1024146 h 1024146"/>
              <a:gd name="connsiteX13" fmla="*/ 392889 w 1627767"/>
              <a:gd name="connsiteY13" fmla="*/ 1023078 h 1024146"/>
              <a:gd name="connsiteX14" fmla="*/ 238097 w 1627767"/>
              <a:gd name="connsiteY14" fmla="*/ 1011754 h 1024146"/>
              <a:gd name="connsiteX15" fmla="*/ 101191 w 1627767"/>
              <a:gd name="connsiteY15" fmla="*/ 989583 h 1024146"/>
              <a:gd name="connsiteX16" fmla="*/ 0 w 1627767"/>
              <a:gd name="connsiteY16" fmla="*/ 964178 h 1024146"/>
              <a:gd name="connsiteX17" fmla="*/ 53527 w 1627767"/>
              <a:gd name="connsiteY17" fmla="*/ 48660 h 1024146"/>
              <a:gd name="connsiteX0" fmla="*/ 53527 w 1526690"/>
              <a:gd name="connsiteY0" fmla="*/ 48660 h 1024146"/>
              <a:gd name="connsiteX1" fmla="*/ 77639 w 1526690"/>
              <a:gd name="connsiteY1" fmla="*/ 38332 h 1024146"/>
              <a:gd name="connsiteX2" fmla="*/ 89463 w 1526690"/>
              <a:gd name="connsiteY2" fmla="*/ 23783 h 1024146"/>
              <a:gd name="connsiteX3" fmla="*/ 135742 w 1526690"/>
              <a:gd name="connsiteY3" fmla="*/ 0 h 1024146"/>
              <a:gd name="connsiteX4" fmla="*/ 1282245 w 1526690"/>
              <a:gd name="connsiteY4" fmla="*/ 130709 h 1024146"/>
              <a:gd name="connsiteX5" fmla="*/ 1280935 w 1526690"/>
              <a:gd name="connsiteY5" fmla="*/ 201794 h 1024146"/>
              <a:gd name="connsiteX6" fmla="*/ 1526690 w 1526690"/>
              <a:gd name="connsiteY6" fmla="*/ 700838 h 1024146"/>
              <a:gd name="connsiteX7" fmla="*/ 1422699 w 1526690"/>
              <a:gd name="connsiteY7" fmla="*/ 769158 h 1024146"/>
              <a:gd name="connsiteX8" fmla="*/ 1280144 w 1526690"/>
              <a:gd name="connsiteY8" fmla="*/ 843592 h 1024146"/>
              <a:gd name="connsiteX9" fmla="*/ 1127806 w 1526690"/>
              <a:gd name="connsiteY9" fmla="*/ 916431 h 1024146"/>
              <a:gd name="connsiteX10" fmla="*/ 990279 w 1526690"/>
              <a:gd name="connsiteY10" fmla="*/ 959516 h 1024146"/>
              <a:gd name="connsiteX11" fmla="*/ 810491 w 1526690"/>
              <a:gd name="connsiteY11" fmla="*/ 1001897 h 1024146"/>
              <a:gd name="connsiteX12" fmla="*/ 586912 w 1526690"/>
              <a:gd name="connsiteY12" fmla="*/ 1024146 h 1024146"/>
              <a:gd name="connsiteX13" fmla="*/ 392889 w 1526690"/>
              <a:gd name="connsiteY13" fmla="*/ 1023078 h 1024146"/>
              <a:gd name="connsiteX14" fmla="*/ 238097 w 1526690"/>
              <a:gd name="connsiteY14" fmla="*/ 1011754 h 1024146"/>
              <a:gd name="connsiteX15" fmla="*/ 101191 w 1526690"/>
              <a:gd name="connsiteY15" fmla="*/ 989583 h 1024146"/>
              <a:gd name="connsiteX16" fmla="*/ 0 w 1526690"/>
              <a:gd name="connsiteY16" fmla="*/ 964178 h 1024146"/>
              <a:gd name="connsiteX17" fmla="*/ 53527 w 1526690"/>
              <a:gd name="connsiteY17" fmla="*/ 48660 h 1024146"/>
              <a:gd name="connsiteX0" fmla="*/ 53527 w 1422699"/>
              <a:gd name="connsiteY0" fmla="*/ 48660 h 1024146"/>
              <a:gd name="connsiteX1" fmla="*/ 77639 w 1422699"/>
              <a:gd name="connsiteY1" fmla="*/ 38332 h 1024146"/>
              <a:gd name="connsiteX2" fmla="*/ 89463 w 1422699"/>
              <a:gd name="connsiteY2" fmla="*/ 23783 h 1024146"/>
              <a:gd name="connsiteX3" fmla="*/ 135742 w 1422699"/>
              <a:gd name="connsiteY3" fmla="*/ 0 h 1024146"/>
              <a:gd name="connsiteX4" fmla="*/ 1282245 w 1422699"/>
              <a:gd name="connsiteY4" fmla="*/ 130709 h 1024146"/>
              <a:gd name="connsiteX5" fmla="*/ 1280935 w 1422699"/>
              <a:gd name="connsiteY5" fmla="*/ 201794 h 1024146"/>
              <a:gd name="connsiteX6" fmla="*/ 1278431 w 1422699"/>
              <a:gd name="connsiteY6" fmla="*/ 251883 h 1024146"/>
              <a:gd name="connsiteX7" fmla="*/ 1422699 w 1422699"/>
              <a:gd name="connsiteY7" fmla="*/ 769158 h 1024146"/>
              <a:gd name="connsiteX8" fmla="*/ 1280144 w 1422699"/>
              <a:gd name="connsiteY8" fmla="*/ 843592 h 1024146"/>
              <a:gd name="connsiteX9" fmla="*/ 1127806 w 1422699"/>
              <a:gd name="connsiteY9" fmla="*/ 916431 h 1024146"/>
              <a:gd name="connsiteX10" fmla="*/ 990279 w 1422699"/>
              <a:gd name="connsiteY10" fmla="*/ 959516 h 1024146"/>
              <a:gd name="connsiteX11" fmla="*/ 810491 w 1422699"/>
              <a:gd name="connsiteY11" fmla="*/ 1001897 h 1024146"/>
              <a:gd name="connsiteX12" fmla="*/ 586912 w 1422699"/>
              <a:gd name="connsiteY12" fmla="*/ 1024146 h 1024146"/>
              <a:gd name="connsiteX13" fmla="*/ 392889 w 1422699"/>
              <a:gd name="connsiteY13" fmla="*/ 1023078 h 1024146"/>
              <a:gd name="connsiteX14" fmla="*/ 238097 w 1422699"/>
              <a:gd name="connsiteY14" fmla="*/ 1011754 h 1024146"/>
              <a:gd name="connsiteX15" fmla="*/ 101191 w 1422699"/>
              <a:gd name="connsiteY15" fmla="*/ 989583 h 1024146"/>
              <a:gd name="connsiteX16" fmla="*/ 0 w 1422699"/>
              <a:gd name="connsiteY16" fmla="*/ 964178 h 1024146"/>
              <a:gd name="connsiteX17" fmla="*/ 53527 w 1422699"/>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80144 w 1282245"/>
              <a:gd name="connsiteY8" fmla="*/ 843592 h 1024146"/>
              <a:gd name="connsiteX9" fmla="*/ 1127806 w 1282245"/>
              <a:gd name="connsiteY9" fmla="*/ 916431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127806 w 1282245"/>
              <a:gd name="connsiteY9" fmla="*/ 916431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1227585 w 1282245"/>
              <a:gd name="connsiteY10" fmla="*/ 477305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1227585 w 1282245"/>
              <a:gd name="connsiteY10" fmla="*/ 477305 h 1024146"/>
              <a:gd name="connsiteX11" fmla="*/ 1197482 w 1282245"/>
              <a:gd name="connsiteY11" fmla="*/ 544628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3078"/>
              <a:gd name="connsiteX1" fmla="*/ 77639 w 1282245"/>
              <a:gd name="connsiteY1" fmla="*/ 38332 h 1023078"/>
              <a:gd name="connsiteX2" fmla="*/ 89463 w 1282245"/>
              <a:gd name="connsiteY2" fmla="*/ 23783 h 1023078"/>
              <a:gd name="connsiteX3" fmla="*/ 135742 w 1282245"/>
              <a:gd name="connsiteY3" fmla="*/ 0 h 1023078"/>
              <a:gd name="connsiteX4" fmla="*/ 1282245 w 1282245"/>
              <a:gd name="connsiteY4" fmla="*/ 130709 h 1023078"/>
              <a:gd name="connsiteX5" fmla="*/ 1280935 w 1282245"/>
              <a:gd name="connsiteY5" fmla="*/ 201794 h 1023078"/>
              <a:gd name="connsiteX6" fmla="*/ 1278431 w 1282245"/>
              <a:gd name="connsiteY6" fmla="*/ 251883 h 1023078"/>
              <a:gd name="connsiteX7" fmla="*/ 1258410 w 1282245"/>
              <a:gd name="connsiteY7" fmla="*/ 314660 h 1023078"/>
              <a:gd name="connsiteX8" fmla="*/ 1254587 w 1282245"/>
              <a:gd name="connsiteY8" fmla="*/ 380780 h 1023078"/>
              <a:gd name="connsiteX9" fmla="*/ 1237332 w 1282245"/>
              <a:gd name="connsiteY9" fmla="*/ 431449 h 1023078"/>
              <a:gd name="connsiteX10" fmla="*/ 1227585 w 1282245"/>
              <a:gd name="connsiteY10" fmla="*/ 477305 h 1023078"/>
              <a:gd name="connsiteX11" fmla="*/ 1197482 w 1282245"/>
              <a:gd name="connsiteY11" fmla="*/ 544628 h 1023078"/>
              <a:gd name="connsiteX12" fmla="*/ 1149145 w 1282245"/>
              <a:gd name="connsiteY12" fmla="*/ 608447 h 1023078"/>
              <a:gd name="connsiteX13" fmla="*/ 392889 w 1282245"/>
              <a:gd name="connsiteY13" fmla="*/ 1023078 h 1023078"/>
              <a:gd name="connsiteX14" fmla="*/ 238097 w 1282245"/>
              <a:gd name="connsiteY14" fmla="*/ 1011754 h 1023078"/>
              <a:gd name="connsiteX15" fmla="*/ 101191 w 1282245"/>
              <a:gd name="connsiteY15" fmla="*/ 989583 h 1023078"/>
              <a:gd name="connsiteX16" fmla="*/ 0 w 1282245"/>
              <a:gd name="connsiteY16" fmla="*/ 964178 h 1023078"/>
              <a:gd name="connsiteX17" fmla="*/ 53527 w 1282245"/>
              <a:gd name="connsiteY17" fmla="*/ 48660 h 1023078"/>
              <a:gd name="connsiteX0" fmla="*/ 53527 w 1282245"/>
              <a:gd name="connsiteY0" fmla="*/ 48660 h 1011754"/>
              <a:gd name="connsiteX1" fmla="*/ 77639 w 1282245"/>
              <a:gd name="connsiteY1" fmla="*/ 38332 h 1011754"/>
              <a:gd name="connsiteX2" fmla="*/ 89463 w 1282245"/>
              <a:gd name="connsiteY2" fmla="*/ 23783 h 1011754"/>
              <a:gd name="connsiteX3" fmla="*/ 135742 w 1282245"/>
              <a:gd name="connsiteY3" fmla="*/ 0 h 1011754"/>
              <a:gd name="connsiteX4" fmla="*/ 1282245 w 1282245"/>
              <a:gd name="connsiteY4" fmla="*/ 130709 h 1011754"/>
              <a:gd name="connsiteX5" fmla="*/ 1280935 w 1282245"/>
              <a:gd name="connsiteY5" fmla="*/ 201794 h 1011754"/>
              <a:gd name="connsiteX6" fmla="*/ 1278431 w 1282245"/>
              <a:gd name="connsiteY6" fmla="*/ 251883 h 1011754"/>
              <a:gd name="connsiteX7" fmla="*/ 1258410 w 1282245"/>
              <a:gd name="connsiteY7" fmla="*/ 314660 h 1011754"/>
              <a:gd name="connsiteX8" fmla="*/ 1254587 w 1282245"/>
              <a:gd name="connsiteY8" fmla="*/ 380780 h 1011754"/>
              <a:gd name="connsiteX9" fmla="*/ 1237332 w 1282245"/>
              <a:gd name="connsiteY9" fmla="*/ 431449 h 1011754"/>
              <a:gd name="connsiteX10" fmla="*/ 1227585 w 1282245"/>
              <a:gd name="connsiteY10" fmla="*/ 477305 h 1011754"/>
              <a:gd name="connsiteX11" fmla="*/ 1197482 w 1282245"/>
              <a:gd name="connsiteY11" fmla="*/ 544628 h 1011754"/>
              <a:gd name="connsiteX12" fmla="*/ 1149145 w 1282245"/>
              <a:gd name="connsiteY12" fmla="*/ 608447 h 1011754"/>
              <a:gd name="connsiteX13" fmla="*/ 1130363 w 1282245"/>
              <a:gd name="connsiteY13" fmla="*/ 651720 h 1011754"/>
              <a:gd name="connsiteX14" fmla="*/ 238097 w 1282245"/>
              <a:gd name="connsiteY14" fmla="*/ 1011754 h 1011754"/>
              <a:gd name="connsiteX15" fmla="*/ 101191 w 1282245"/>
              <a:gd name="connsiteY15" fmla="*/ 989583 h 1011754"/>
              <a:gd name="connsiteX16" fmla="*/ 0 w 1282245"/>
              <a:gd name="connsiteY16" fmla="*/ 964178 h 1011754"/>
              <a:gd name="connsiteX17" fmla="*/ 53527 w 1282245"/>
              <a:gd name="connsiteY17" fmla="*/ 48660 h 1011754"/>
              <a:gd name="connsiteX0" fmla="*/ 53527 w 1282245"/>
              <a:gd name="connsiteY0" fmla="*/ 48660 h 989583"/>
              <a:gd name="connsiteX1" fmla="*/ 77639 w 1282245"/>
              <a:gd name="connsiteY1" fmla="*/ 38332 h 989583"/>
              <a:gd name="connsiteX2" fmla="*/ 89463 w 1282245"/>
              <a:gd name="connsiteY2" fmla="*/ 23783 h 989583"/>
              <a:gd name="connsiteX3" fmla="*/ 135742 w 1282245"/>
              <a:gd name="connsiteY3" fmla="*/ 0 h 989583"/>
              <a:gd name="connsiteX4" fmla="*/ 1282245 w 1282245"/>
              <a:gd name="connsiteY4" fmla="*/ 130709 h 989583"/>
              <a:gd name="connsiteX5" fmla="*/ 1280935 w 1282245"/>
              <a:gd name="connsiteY5" fmla="*/ 201794 h 989583"/>
              <a:gd name="connsiteX6" fmla="*/ 1278431 w 1282245"/>
              <a:gd name="connsiteY6" fmla="*/ 251883 h 989583"/>
              <a:gd name="connsiteX7" fmla="*/ 1258410 w 1282245"/>
              <a:gd name="connsiteY7" fmla="*/ 314660 h 989583"/>
              <a:gd name="connsiteX8" fmla="*/ 1254587 w 1282245"/>
              <a:gd name="connsiteY8" fmla="*/ 380780 h 989583"/>
              <a:gd name="connsiteX9" fmla="*/ 1237332 w 1282245"/>
              <a:gd name="connsiteY9" fmla="*/ 431449 h 989583"/>
              <a:gd name="connsiteX10" fmla="*/ 1227585 w 1282245"/>
              <a:gd name="connsiteY10" fmla="*/ 477305 h 989583"/>
              <a:gd name="connsiteX11" fmla="*/ 1197482 w 1282245"/>
              <a:gd name="connsiteY11" fmla="*/ 544628 h 989583"/>
              <a:gd name="connsiteX12" fmla="*/ 1149145 w 1282245"/>
              <a:gd name="connsiteY12" fmla="*/ 608447 h 989583"/>
              <a:gd name="connsiteX13" fmla="*/ 1130363 w 1282245"/>
              <a:gd name="connsiteY13" fmla="*/ 651720 h 989583"/>
              <a:gd name="connsiteX14" fmla="*/ 101191 w 1282245"/>
              <a:gd name="connsiteY14" fmla="*/ 989583 h 989583"/>
              <a:gd name="connsiteX15" fmla="*/ 0 w 1282245"/>
              <a:gd name="connsiteY15" fmla="*/ 964178 h 989583"/>
              <a:gd name="connsiteX16" fmla="*/ 53527 w 1282245"/>
              <a:gd name="connsiteY16" fmla="*/ 48660 h 989583"/>
              <a:gd name="connsiteX0" fmla="*/ 53527 w 1282245"/>
              <a:gd name="connsiteY0" fmla="*/ 48660 h 964178"/>
              <a:gd name="connsiteX1" fmla="*/ 77639 w 1282245"/>
              <a:gd name="connsiteY1" fmla="*/ 38332 h 964178"/>
              <a:gd name="connsiteX2" fmla="*/ 89463 w 1282245"/>
              <a:gd name="connsiteY2" fmla="*/ 23783 h 964178"/>
              <a:gd name="connsiteX3" fmla="*/ 135742 w 1282245"/>
              <a:gd name="connsiteY3" fmla="*/ 0 h 964178"/>
              <a:gd name="connsiteX4" fmla="*/ 1282245 w 1282245"/>
              <a:gd name="connsiteY4" fmla="*/ 130709 h 964178"/>
              <a:gd name="connsiteX5" fmla="*/ 1280935 w 1282245"/>
              <a:gd name="connsiteY5" fmla="*/ 201794 h 964178"/>
              <a:gd name="connsiteX6" fmla="*/ 1278431 w 1282245"/>
              <a:gd name="connsiteY6" fmla="*/ 251883 h 964178"/>
              <a:gd name="connsiteX7" fmla="*/ 1258410 w 1282245"/>
              <a:gd name="connsiteY7" fmla="*/ 314660 h 964178"/>
              <a:gd name="connsiteX8" fmla="*/ 1254587 w 1282245"/>
              <a:gd name="connsiteY8" fmla="*/ 380780 h 964178"/>
              <a:gd name="connsiteX9" fmla="*/ 1237332 w 1282245"/>
              <a:gd name="connsiteY9" fmla="*/ 431449 h 964178"/>
              <a:gd name="connsiteX10" fmla="*/ 1227585 w 1282245"/>
              <a:gd name="connsiteY10" fmla="*/ 477305 h 964178"/>
              <a:gd name="connsiteX11" fmla="*/ 1197482 w 1282245"/>
              <a:gd name="connsiteY11" fmla="*/ 544628 h 964178"/>
              <a:gd name="connsiteX12" fmla="*/ 1149145 w 1282245"/>
              <a:gd name="connsiteY12" fmla="*/ 608447 h 964178"/>
              <a:gd name="connsiteX13" fmla="*/ 1130363 w 1282245"/>
              <a:gd name="connsiteY13" fmla="*/ 651720 h 964178"/>
              <a:gd name="connsiteX14" fmla="*/ 0 w 1282245"/>
              <a:gd name="connsiteY14" fmla="*/ 964178 h 964178"/>
              <a:gd name="connsiteX15" fmla="*/ 53527 w 1282245"/>
              <a:gd name="connsiteY15" fmla="*/ 48660 h 964178"/>
              <a:gd name="connsiteX0" fmla="*/ 0 w 1228718"/>
              <a:gd name="connsiteY0" fmla="*/ 48660 h 742472"/>
              <a:gd name="connsiteX1" fmla="*/ 24112 w 1228718"/>
              <a:gd name="connsiteY1" fmla="*/ 38332 h 742472"/>
              <a:gd name="connsiteX2" fmla="*/ 35936 w 1228718"/>
              <a:gd name="connsiteY2" fmla="*/ 23783 h 742472"/>
              <a:gd name="connsiteX3" fmla="*/ 82215 w 1228718"/>
              <a:gd name="connsiteY3" fmla="*/ 0 h 742472"/>
              <a:gd name="connsiteX4" fmla="*/ 1228718 w 1228718"/>
              <a:gd name="connsiteY4" fmla="*/ 130709 h 742472"/>
              <a:gd name="connsiteX5" fmla="*/ 1227408 w 1228718"/>
              <a:gd name="connsiteY5" fmla="*/ 201794 h 742472"/>
              <a:gd name="connsiteX6" fmla="*/ 1224904 w 1228718"/>
              <a:gd name="connsiteY6" fmla="*/ 251883 h 742472"/>
              <a:gd name="connsiteX7" fmla="*/ 1204883 w 1228718"/>
              <a:gd name="connsiteY7" fmla="*/ 314660 h 742472"/>
              <a:gd name="connsiteX8" fmla="*/ 1201060 w 1228718"/>
              <a:gd name="connsiteY8" fmla="*/ 380780 h 742472"/>
              <a:gd name="connsiteX9" fmla="*/ 1183805 w 1228718"/>
              <a:gd name="connsiteY9" fmla="*/ 431449 h 742472"/>
              <a:gd name="connsiteX10" fmla="*/ 1174058 w 1228718"/>
              <a:gd name="connsiteY10" fmla="*/ 477305 h 742472"/>
              <a:gd name="connsiteX11" fmla="*/ 1143955 w 1228718"/>
              <a:gd name="connsiteY11" fmla="*/ 544628 h 742472"/>
              <a:gd name="connsiteX12" fmla="*/ 1095618 w 1228718"/>
              <a:gd name="connsiteY12" fmla="*/ 608447 h 742472"/>
              <a:gd name="connsiteX13" fmla="*/ 1076836 w 1228718"/>
              <a:gd name="connsiteY13" fmla="*/ 651720 h 742472"/>
              <a:gd name="connsiteX14" fmla="*/ 979667 w 1228718"/>
              <a:gd name="connsiteY14" fmla="*/ 742472 h 742472"/>
              <a:gd name="connsiteX15" fmla="*/ 0 w 1228718"/>
              <a:gd name="connsiteY15" fmla="*/ 48660 h 742472"/>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76836 w 1228718"/>
              <a:gd name="connsiteY13" fmla="*/ 651720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29826 w 1228718"/>
              <a:gd name="connsiteY13" fmla="*/ 696018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16230 w 1228718"/>
              <a:gd name="connsiteY7" fmla="*/ 307277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6526 w 1228718"/>
              <a:gd name="connsiteY6" fmla="*/ 243269 h 746164"/>
              <a:gd name="connsiteX7" fmla="*/ 1216230 w 1228718"/>
              <a:gd name="connsiteY7" fmla="*/ 307277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9466"/>
              <a:gd name="connsiteY0" fmla="*/ 48660 h 746164"/>
              <a:gd name="connsiteX1" fmla="*/ 24112 w 1229466"/>
              <a:gd name="connsiteY1" fmla="*/ 38332 h 746164"/>
              <a:gd name="connsiteX2" fmla="*/ 35936 w 1229466"/>
              <a:gd name="connsiteY2" fmla="*/ 23783 h 746164"/>
              <a:gd name="connsiteX3" fmla="*/ 82215 w 1229466"/>
              <a:gd name="connsiteY3" fmla="*/ 0 h 746164"/>
              <a:gd name="connsiteX4" fmla="*/ 1228718 w 1229466"/>
              <a:gd name="connsiteY4" fmla="*/ 130709 h 746164"/>
              <a:gd name="connsiteX5" fmla="*/ 1229029 w 1229466"/>
              <a:gd name="connsiteY5" fmla="*/ 180875 h 746164"/>
              <a:gd name="connsiteX6" fmla="*/ 1226526 w 1229466"/>
              <a:gd name="connsiteY6" fmla="*/ 243269 h 746164"/>
              <a:gd name="connsiteX7" fmla="*/ 1216230 w 1229466"/>
              <a:gd name="connsiteY7" fmla="*/ 307277 h 746164"/>
              <a:gd name="connsiteX8" fmla="*/ 1201060 w 1229466"/>
              <a:gd name="connsiteY8" fmla="*/ 373397 h 746164"/>
              <a:gd name="connsiteX9" fmla="*/ 1183805 w 1229466"/>
              <a:gd name="connsiteY9" fmla="*/ 431449 h 746164"/>
              <a:gd name="connsiteX10" fmla="*/ 1157848 w 1229466"/>
              <a:gd name="connsiteY10" fmla="*/ 485919 h 746164"/>
              <a:gd name="connsiteX11" fmla="*/ 1132608 w 1229466"/>
              <a:gd name="connsiteY11" fmla="*/ 545858 h 746164"/>
              <a:gd name="connsiteX12" fmla="*/ 1084271 w 1229466"/>
              <a:gd name="connsiteY12" fmla="*/ 629366 h 746164"/>
              <a:gd name="connsiteX13" fmla="*/ 1041173 w 1229466"/>
              <a:gd name="connsiteY13" fmla="*/ 681252 h 746164"/>
              <a:gd name="connsiteX14" fmla="*/ 989393 w 1229466"/>
              <a:gd name="connsiteY14" fmla="*/ 746164 h 746164"/>
              <a:gd name="connsiteX15" fmla="*/ 0 w 1229466"/>
              <a:gd name="connsiteY15" fmla="*/ 48660 h 746164"/>
              <a:gd name="connsiteX0" fmla="*/ 0 w 1229466"/>
              <a:gd name="connsiteY0" fmla="*/ 37585 h 735089"/>
              <a:gd name="connsiteX1" fmla="*/ 24112 w 1229466"/>
              <a:gd name="connsiteY1" fmla="*/ 27257 h 735089"/>
              <a:gd name="connsiteX2" fmla="*/ 35936 w 1229466"/>
              <a:gd name="connsiteY2" fmla="*/ 12708 h 735089"/>
              <a:gd name="connsiteX3" fmla="*/ 56278 w 1229466"/>
              <a:gd name="connsiteY3" fmla="*/ 0 h 735089"/>
              <a:gd name="connsiteX4" fmla="*/ 1228718 w 1229466"/>
              <a:gd name="connsiteY4" fmla="*/ 119634 h 735089"/>
              <a:gd name="connsiteX5" fmla="*/ 1229029 w 1229466"/>
              <a:gd name="connsiteY5" fmla="*/ 169800 h 735089"/>
              <a:gd name="connsiteX6" fmla="*/ 1226526 w 1229466"/>
              <a:gd name="connsiteY6" fmla="*/ 232194 h 735089"/>
              <a:gd name="connsiteX7" fmla="*/ 1216230 w 1229466"/>
              <a:gd name="connsiteY7" fmla="*/ 296202 h 735089"/>
              <a:gd name="connsiteX8" fmla="*/ 1201060 w 1229466"/>
              <a:gd name="connsiteY8" fmla="*/ 362322 h 735089"/>
              <a:gd name="connsiteX9" fmla="*/ 1183805 w 1229466"/>
              <a:gd name="connsiteY9" fmla="*/ 420374 h 735089"/>
              <a:gd name="connsiteX10" fmla="*/ 1157848 w 1229466"/>
              <a:gd name="connsiteY10" fmla="*/ 474844 h 735089"/>
              <a:gd name="connsiteX11" fmla="*/ 1132608 w 1229466"/>
              <a:gd name="connsiteY11" fmla="*/ 534783 h 735089"/>
              <a:gd name="connsiteX12" fmla="*/ 1084271 w 1229466"/>
              <a:gd name="connsiteY12" fmla="*/ 618291 h 735089"/>
              <a:gd name="connsiteX13" fmla="*/ 1041173 w 1229466"/>
              <a:gd name="connsiteY13" fmla="*/ 670177 h 735089"/>
              <a:gd name="connsiteX14" fmla="*/ 989393 w 1229466"/>
              <a:gd name="connsiteY14" fmla="*/ 735089 h 735089"/>
              <a:gd name="connsiteX15" fmla="*/ 0 w 1229466"/>
              <a:gd name="connsiteY15" fmla="*/ 37585 h 735089"/>
              <a:gd name="connsiteX0" fmla="*/ 0 w 1235950"/>
              <a:gd name="connsiteY0" fmla="*/ 35124 h 735089"/>
              <a:gd name="connsiteX1" fmla="*/ 30596 w 1235950"/>
              <a:gd name="connsiteY1" fmla="*/ 27257 h 735089"/>
              <a:gd name="connsiteX2" fmla="*/ 42420 w 1235950"/>
              <a:gd name="connsiteY2" fmla="*/ 12708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42420 w 1235950"/>
              <a:gd name="connsiteY2" fmla="*/ 12708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39178 w 1235950"/>
              <a:gd name="connsiteY2" fmla="*/ 7786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39178 w 1235950"/>
              <a:gd name="connsiteY2" fmla="*/ 7786 h 735089"/>
              <a:gd name="connsiteX3" fmla="*/ 49794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346744"/>
              <a:gd name="connsiteY0" fmla="*/ 280791 h 735089"/>
              <a:gd name="connsiteX1" fmla="*/ 128422 w 1346744"/>
              <a:gd name="connsiteY1" fmla="*/ 22335 h 735089"/>
              <a:gd name="connsiteX2" fmla="*/ 149972 w 1346744"/>
              <a:gd name="connsiteY2" fmla="*/ 7786 h 735089"/>
              <a:gd name="connsiteX3" fmla="*/ 160588 w 1346744"/>
              <a:gd name="connsiteY3" fmla="*/ 0 h 735089"/>
              <a:gd name="connsiteX4" fmla="*/ 1345996 w 1346744"/>
              <a:gd name="connsiteY4" fmla="*/ 119634 h 735089"/>
              <a:gd name="connsiteX5" fmla="*/ 1346307 w 1346744"/>
              <a:gd name="connsiteY5" fmla="*/ 169800 h 735089"/>
              <a:gd name="connsiteX6" fmla="*/ 1343804 w 1346744"/>
              <a:gd name="connsiteY6" fmla="*/ 232194 h 735089"/>
              <a:gd name="connsiteX7" fmla="*/ 1333508 w 1346744"/>
              <a:gd name="connsiteY7" fmla="*/ 296202 h 735089"/>
              <a:gd name="connsiteX8" fmla="*/ 1318338 w 1346744"/>
              <a:gd name="connsiteY8" fmla="*/ 362322 h 735089"/>
              <a:gd name="connsiteX9" fmla="*/ 1301083 w 1346744"/>
              <a:gd name="connsiteY9" fmla="*/ 420374 h 735089"/>
              <a:gd name="connsiteX10" fmla="*/ 1275126 w 1346744"/>
              <a:gd name="connsiteY10" fmla="*/ 474844 h 735089"/>
              <a:gd name="connsiteX11" fmla="*/ 1249886 w 1346744"/>
              <a:gd name="connsiteY11" fmla="*/ 534783 h 735089"/>
              <a:gd name="connsiteX12" fmla="*/ 1201549 w 1346744"/>
              <a:gd name="connsiteY12" fmla="*/ 618291 h 735089"/>
              <a:gd name="connsiteX13" fmla="*/ 1158451 w 1346744"/>
              <a:gd name="connsiteY13" fmla="*/ 670177 h 735089"/>
              <a:gd name="connsiteX14" fmla="*/ 1106671 w 1346744"/>
              <a:gd name="connsiteY14" fmla="*/ 735089 h 735089"/>
              <a:gd name="connsiteX15" fmla="*/ 0 w 1346744"/>
              <a:gd name="connsiteY15" fmla="*/ 280791 h 735089"/>
              <a:gd name="connsiteX0" fmla="*/ 0 w 1346744"/>
              <a:gd name="connsiteY0" fmla="*/ 311776 h 766074"/>
              <a:gd name="connsiteX1" fmla="*/ 128422 w 1346744"/>
              <a:gd name="connsiteY1" fmla="*/ 53320 h 766074"/>
              <a:gd name="connsiteX2" fmla="*/ 149972 w 1346744"/>
              <a:gd name="connsiteY2" fmla="*/ 38771 h 766074"/>
              <a:gd name="connsiteX3" fmla="*/ 55626 w 1346744"/>
              <a:gd name="connsiteY3" fmla="*/ 0 h 766074"/>
              <a:gd name="connsiteX4" fmla="*/ 1345996 w 1346744"/>
              <a:gd name="connsiteY4" fmla="*/ 150619 h 766074"/>
              <a:gd name="connsiteX5" fmla="*/ 1346307 w 1346744"/>
              <a:gd name="connsiteY5" fmla="*/ 200785 h 766074"/>
              <a:gd name="connsiteX6" fmla="*/ 1343804 w 1346744"/>
              <a:gd name="connsiteY6" fmla="*/ 263179 h 766074"/>
              <a:gd name="connsiteX7" fmla="*/ 1333508 w 1346744"/>
              <a:gd name="connsiteY7" fmla="*/ 327187 h 766074"/>
              <a:gd name="connsiteX8" fmla="*/ 1318338 w 1346744"/>
              <a:gd name="connsiteY8" fmla="*/ 393307 h 766074"/>
              <a:gd name="connsiteX9" fmla="*/ 1301083 w 1346744"/>
              <a:gd name="connsiteY9" fmla="*/ 451359 h 766074"/>
              <a:gd name="connsiteX10" fmla="*/ 1275126 w 1346744"/>
              <a:gd name="connsiteY10" fmla="*/ 505829 h 766074"/>
              <a:gd name="connsiteX11" fmla="*/ 1249886 w 1346744"/>
              <a:gd name="connsiteY11" fmla="*/ 565768 h 766074"/>
              <a:gd name="connsiteX12" fmla="*/ 1201549 w 1346744"/>
              <a:gd name="connsiteY12" fmla="*/ 649276 h 766074"/>
              <a:gd name="connsiteX13" fmla="*/ 1158451 w 1346744"/>
              <a:gd name="connsiteY13" fmla="*/ 701162 h 766074"/>
              <a:gd name="connsiteX14" fmla="*/ 1106671 w 1346744"/>
              <a:gd name="connsiteY14" fmla="*/ 766074 h 766074"/>
              <a:gd name="connsiteX15" fmla="*/ 0 w 1346744"/>
              <a:gd name="connsiteY15" fmla="*/ 311776 h 766074"/>
              <a:gd name="connsiteX0" fmla="*/ 0 w 1346744"/>
              <a:gd name="connsiteY0" fmla="*/ 311776 h 766074"/>
              <a:gd name="connsiteX1" fmla="*/ 70110 w 1346744"/>
              <a:gd name="connsiteY1" fmla="*/ 245870 h 766074"/>
              <a:gd name="connsiteX2" fmla="*/ 149972 w 1346744"/>
              <a:gd name="connsiteY2" fmla="*/ 38771 h 766074"/>
              <a:gd name="connsiteX3" fmla="*/ 55626 w 1346744"/>
              <a:gd name="connsiteY3" fmla="*/ 0 h 766074"/>
              <a:gd name="connsiteX4" fmla="*/ 1345996 w 1346744"/>
              <a:gd name="connsiteY4" fmla="*/ 150619 h 766074"/>
              <a:gd name="connsiteX5" fmla="*/ 1346307 w 1346744"/>
              <a:gd name="connsiteY5" fmla="*/ 200785 h 766074"/>
              <a:gd name="connsiteX6" fmla="*/ 1343804 w 1346744"/>
              <a:gd name="connsiteY6" fmla="*/ 263179 h 766074"/>
              <a:gd name="connsiteX7" fmla="*/ 1333508 w 1346744"/>
              <a:gd name="connsiteY7" fmla="*/ 327187 h 766074"/>
              <a:gd name="connsiteX8" fmla="*/ 1318338 w 1346744"/>
              <a:gd name="connsiteY8" fmla="*/ 393307 h 766074"/>
              <a:gd name="connsiteX9" fmla="*/ 1301083 w 1346744"/>
              <a:gd name="connsiteY9" fmla="*/ 451359 h 766074"/>
              <a:gd name="connsiteX10" fmla="*/ 1275126 w 1346744"/>
              <a:gd name="connsiteY10" fmla="*/ 505829 h 766074"/>
              <a:gd name="connsiteX11" fmla="*/ 1249886 w 1346744"/>
              <a:gd name="connsiteY11" fmla="*/ 565768 h 766074"/>
              <a:gd name="connsiteX12" fmla="*/ 1201549 w 1346744"/>
              <a:gd name="connsiteY12" fmla="*/ 649276 h 766074"/>
              <a:gd name="connsiteX13" fmla="*/ 1158451 w 1346744"/>
              <a:gd name="connsiteY13" fmla="*/ 701162 h 766074"/>
              <a:gd name="connsiteX14" fmla="*/ 1106671 w 1346744"/>
              <a:gd name="connsiteY14" fmla="*/ 766074 h 766074"/>
              <a:gd name="connsiteX15" fmla="*/ 0 w 1346744"/>
              <a:gd name="connsiteY15" fmla="*/ 311776 h 766074"/>
              <a:gd name="connsiteX0" fmla="*/ 0 w 1346744"/>
              <a:gd name="connsiteY0" fmla="*/ 311776 h 766074"/>
              <a:gd name="connsiteX1" fmla="*/ 70110 w 1346744"/>
              <a:gd name="connsiteY1" fmla="*/ 245870 h 766074"/>
              <a:gd name="connsiteX2" fmla="*/ 109153 w 1346744"/>
              <a:gd name="connsiteY2" fmla="*/ 116233 h 766074"/>
              <a:gd name="connsiteX3" fmla="*/ 55626 w 1346744"/>
              <a:gd name="connsiteY3" fmla="*/ 0 h 766074"/>
              <a:gd name="connsiteX4" fmla="*/ 1345996 w 1346744"/>
              <a:gd name="connsiteY4" fmla="*/ 150619 h 766074"/>
              <a:gd name="connsiteX5" fmla="*/ 1346307 w 1346744"/>
              <a:gd name="connsiteY5" fmla="*/ 200785 h 766074"/>
              <a:gd name="connsiteX6" fmla="*/ 1343804 w 1346744"/>
              <a:gd name="connsiteY6" fmla="*/ 263179 h 766074"/>
              <a:gd name="connsiteX7" fmla="*/ 1333508 w 1346744"/>
              <a:gd name="connsiteY7" fmla="*/ 327187 h 766074"/>
              <a:gd name="connsiteX8" fmla="*/ 1318338 w 1346744"/>
              <a:gd name="connsiteY8" fmla="*/ 393307 h 766074"/>
              <a:gd name="connsiteX9" fmla="*/ 1301083 w 1346744"/>
              <a:gd name="connsiteY9" fmla="*/ 451359 h 766074"/>
              <a:gd name="connsiteX10" fmla="*/ 1275126 w 1346744"/>
              <a:gd name="connsiteY10" fmla="*/ 505829 h 766074"/>
              <a:gd name="connsiteX11" fmla="*/ 1249886 w 1346744"/>
              <a:gd name="connsiteY11" fmla="*/ 565768 h 766074"/>
              <a:gd name="connsiteX12" fmla="*/ 1201549 w 1346744"/>
              <a:gd name="connsiteY12" fmla="*/ 649276 h 766074"/>
              <a:gd name="connsiteX13" fmla="*/ 1158451 w 1346744"/>
              <a:gd name="connsiteY13" fmla="*/ 701162 h 766074"/>
              <a:gd name="connsiteX14" fmla="*/ 1106671 w 1346744"/>
              <a:gd name="connsiteY14" fmla="*/ 766074 h 766074"/>
              <a:gd name="connsiteX15" fmla="*/ 0 w 1346744"/>
              <a:gd name="connsiteY15" fmla="*/ 311776 h 766074"/>
              <a:gd name="connsiteX0" fmla="*/ 0 w 1346744"/>
              <a:gd name="connsiteY0" fmla="*/ 329361 h 783659"/>
              <a:gd name="connsiteX1" fmla="*/ 70110 w 1346744"/>
              <a:gd name="connsiteY1" fmla="*/ 263455 h 783659"/>
              <a:gd name="connsiteX2" fmla="*/ 109153 w 1346744"/>
              <a:gd name="connsiteY2" fmla="*/ 133818 h 783659"/>
              <a:gd name="connsiteX3" fmla="*/ 55626 w 1346744"/>
              <a:gd name="connsiteY3" fmla="*/ 17585 h 783659"/>
              <a:gd name="connsiteX4" fmla="*/ 1048603 w 1346744"/>
              <a:gd name="connsiteY4" fmla="*/ 0 h 783659"/>
              <a:gd name="connsiteX5" fmla="*/ 1346307 w 1346744"/>
              <a:gd name="connsiteY5" fmla="*/ 218370 h 783659"/>
              <a:gd name="connsiteX6" fmla="*/ 1343804 w 1346744"/>
              <a:gd name="connsiteY6" fmla="*/ 280764 h 783659"/>
              <a:gd name="connsiteX7" fmla="*/ 1333508 w 1346744"/>
              <a:gd name="connsiteY7" fmla="*/ 344772 h 783659"/>
              <a:gd name="connsiteX8" fmla="*/ 1318338 w 1346744"/>
              <a:gd name="connsiteY8" fmla="*/ 410892 h 783659"/>
              <a:gd name="connsiteX9" fmla="*/ 1301083 w 1346744"/>
              <a:gd name="connsiteY9" fmla="*/ 468944 h 783659"/>
              <a:gd name="connsiteX10" fmla="*/ 1275126 w 1346744"/>
              <a:gd name="connsiteY10" fmla="*/ 523414 h 783659"/>
              <a:gd name="connsiteX11" fmla="*/ 1249886 w 1346744"/>
              <a:gd name="connsiteY11" fmla="*/ 583353 h 783659"/>
              <a:gd name="connsiteX12" fmla="*/ 1201549 w 1346744"/>
              <a:gd name="connsiteY12" fmla="*/ 666861 h 783659"/>
              <a:gd name="connsiteX13" fmla="*/ 1158451 w 1346744"/>
              <a:gd name="connsiteY13" fmla="*/ 718747 h 783659"/>
              <a:gd name="connsiteX14" fmla="*/ 1106671 w 1346744"/>
              <a:gd name="connsiteY14" fmla="*/ 783659 h 783659"/>
              <a:gd name="connsiteX15" fmla="*/ 0 w 1346744"/>
              <a:gd name="connsiteY15" fmla="*/ 329361 h 783659"/>
              <a:gd name="connsiteX0" fmla="*/ 0 w 1346744"/>
              <a:gd name="connsiteY0" fmla="*/ 323249 h 777547"/>
              <a:gd name="connsiteX1" fmla="*/ 70110 w 1346744"/>
              <a:gd name="connsiteY1" fmla="*/ 257343 h 777547"/>
              <a:gd name="connsiteX2" fmla="*/ 109153 w 1346744"/>
              <a:gd name="connsiteY2" fmla="*/ 127706 h 777547"/>
              <a:gd name="connsiteX3" fmla="*/ 55626 w 1346744"/>
              <a:gd name="connsiteY3" fmla="*/ 11473 h 777547"/>
              <a:gd name="connsiteX4" fmla="*/ 1044002 w 1346744"/>
              <a:gd name="connsiteY4" fmla="*/ 0 h 777547"/>
              <a:gd name="connsiteX5" fmla="*/ 1346307 w 1346744"/>
              <a:gd name="connsiteY5" fmla="*/ 212258 h 777547"/>
              <a:gd name="connsiteX6" fmla="*/ 1343804 w 1346744"/>
              <a:gd name="connsiteY6" fmla="*/ 274652 h 777547"/>
              <a:gd name="connsiteX7" fmla="*/ 1333508 w 1346744"/>
              <a:gd name="connsiteY7" fmla="*/ 338660 h 777547"/>
              <a:gd name="connsiteX8" fmla="*/ 1318338 w 1346744"/>
              <a:gd name="connsiteY8" fmla="*/ 404780 h 777547"/>
              <a:gd name="connsiteX9" fmla="*/ 1301083 w 1346744"/>
              <a:gd name="connsiteY9" fmla="*/ 462832 h 777547"/>
              <a:gd name="connsiteX10" fmla="*/ 1275126 w 1346744"/>
              <a:gd name="connsiteY10" fmla="*/ 517302 h 777547"/>
              <a:gd name="connsiteX11" fmla="*/ 1249886 w 1346744"/>
              <a:gd name="connsiteY11" fmla="*/ 577241 h 777547"/>
              <a:gd name="connsiteX12" fmla="*/ 1201549 w 1346744"/>
              <a:gd name="connsiteY12" fmla="*/ 660749 h 777547"/>
              <a:gd name="connsiteX13" fmla="*/ 1158451 w 1346744"/>
              <a:gd name="connsiteY13" fmla="*/ 712635 h 777547"/>
              <a:gd name="connsiteX14" fmla="*/ 1106671 w 1346744"/>
              <a:gd name="connsiteY14" fmla="*/ 777547 h 777547"/>
              <a:gd name="connsiteX15" fmla="*/ 0 w 1346744"/>
              <a:gd name="connsiteY15" fmla="*/ 323249 h 777547"/>
              <a:gd name="connsiteX0" fmla="*/ 0 w 1346744"/>
              <a:gd name="connsiteY0" fmla="*/ 324122 h 778420"/>
              <a:gd name="connsiteX1" fmla="*/ 70110 w 1346744"/>
              <a:gd name="connsiteY1" fmla="*/ 258216 h 778420"/>
              <a:gd name="connsiteX2" fmla="*/ 109153 w 1346744"/>
              <a:gd name="connsiteY2" fmla="*/ 128579 h 778420"/>
              <a:gd name="connsiteX3" fmla="*/ 55626 w 1346744"/>
              <a:gd name="connsiteY3" fmla="*/ 12346 h 778420"/>
              <a:gd name="connsiteX4" fmla="*/ 1048603 w 1346744"/>
              <a:gd name="connsiteY4" fmla="*/ 0 h 778420"/>
              <a:gd name="connsiteX5" fmla="*/ 1346307 w 1346744"/>
              <a:gd name="connsiteY5" fmla="*/ 213131 h 778420"/>
              <a:gd name="connsiteX6" fmla="*/ 1343804 w 1346744"/>
              <a:gd name="connsiteY6" fmla="*/ 275525 h 778420"/>
              <a:gd name="connsiteX7" fmla="*/ 1333508 w 1346744"/>
              <a:gd name="connsiteY7" fmla="*/ 339533 h 778420"/>
              <a:gd name="connsiteX8" fmla="*/ 1318338 w 1346744"/>
              <a:gd name="connsiteY8" fmla="*/ 405653 h 778420"/>
              <a:gd name="connsiteX9" fmla="*/ 1301083 w 1346744"/>
              <a:gd name="connsiteY9" fmla="*/ 463705 h 778420"/>
              <a:gd name="connsiteX10" fmla="*/ 1275126 w 1346744"/>
              <a:gd name="connsiteY10" fmla="*/ 518175 h 778420"/>
              <a:gd name="connsiteX11" fmla="*/ 1249886 w 1346744"/>
              <a:gd name="connsiteY11" fmla="*/ 578114 h 778420"/>
              <a:gd name="connsiteX12" fmla="*/ 1201549 w 1346744"/>
              <a:gd name="connsiteY12" fmla="*/ 661622 h 778420"/>
              <a:gd name="connsiteX13" fmla="*/ 1158451 w 1346744"/>
              <a:gd name="connsiteY13" fmla="*/ 713508 h 778420"/>
              <a:gd name="connsiteX14" fmla="*/ 1106671 w 1346744"/>
              <a:gd name="connsiteY14" fmla="*/ 778420 h 778420"/>
              <a:gd name="connsiteX15" fmla="*/ 0 w 134674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65641 w 1343804"/>
              <a:gd name="connsiteY5" fmla="*/ 41992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65641 w 1343804"/>
              <a:gd name="connsiteY5" fmla="*/ 41992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97849 w 1343804"/>
              <a:gd name="connsiteY5" fmla="*/ 51597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97849 w 1343804"/>
              <a:gd name="connsiteY5" fmla="*/ 51597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97849 w 1343804"/>
              <a:gd name="connsiteY5" fmla="*/ 51597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71393 w 1343804"/>
              <a:gd name="connsiteY5" fmla="*/ 42865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43804"/>
              <a:gd name="connsiteY0" fmla="*/ 324122 h 778420"/>
              <a:gd name="connsiteX1" fmla="*/ 70110 w 1343804"/>
              <a:gd name="connsiteY1" fmla="*/ 258216 h 778420"/>
              <a:gd name="connsiteX2" fmla="*/ 109153 w 1343804"/>
              <a:gd name="connsiteY2" fmla="*/ 128579 h 778420"/>
              <a:gd name="connsiteX3" fmla="*/ 55626 w 1343804"/>
              <a:gd name="connsiteY3" fmla="*/ 12346 h 778420"/>
              <a:gd name="connsiteX4" fmla="*/ 1048603 w 1343804"/>
              <a:gd name="connsiteY4" fmla="*/ 0 h 778420"/>
              <a:gd name="connsiteX5" fmla="*/ 1071393 w 1343804"/>
              <a:gd name="connsiteY5" fmla="*/ 42865 h 778420"/>
              <a:gd name="connsiteX6" fmla="*/ 1343804 w 1343804"/>
              <a:gd name="connsiteY6" fmla="*/ 275525 h 778420"/>
              <a:gd name="connsiteX7" fmla="*/ 1333508 w 1343804"/>
              <a:gd name="connsiteY7" fmla="*/ 339533 h 778420"/>
              <a:gd name="connsiteX8" fmla="*/ 1318338 w 1343804"/>
              <a:gd name="connsiteY8" fmla="*/ 405653 h 778420"/>
              <a:gd name="connsiteX9" fmla="*/ 1301083 w 1343804"/>
              <a:gd name="connsiteY9" fmla="*/ 463705 h 778420"/>
              <a:gd name="connsiteX10" fmla="*/ 1275126 w 1343804"/>
              <a:gd name="connsiteY10" fmla="*/ 518175 h 778420"/>
              <a:gd name="connsiteX11" fmla="*/ 1249886 w 1343804"/>
              <a:gd name="connsiteY11" fmla="*/ 578114 h 778420"/>
              <a:gd name="connsiteX12" fmla="*/ 1201549 w 1343804"/>
              <a:gd name="connsiteY12" fmla="*/ 661622 h 778420"/>
              <a:gd name="connsiteX13" fmla="*/ 1158451 w 1343804"/>
              <a:gd name="connsiteY13" fmla="*/ 713508 h 778420"/>
              <a:gd name="connsiteX14" fmla="*/ 1106671 w 1343804"/>
              <a:gd name="connsiteY14" fmla="*/ 778420 h 778420"/>
              <a:gd name="connsiteX15" fmla="*/ 0 w 1343804"/>
              <a:gd name="connsiteY15" fmla="*/ 324122 h 778420"/>
              <a:gd name="connsiteX0" fmla="*/ 0 w 1333508"/>
              <a:gd name="connsiteY0" fmla="*/ 324122 h 778420"/>
              <a:gd name="connsiteX1" fmla="*/ 70110 w 1333508"/>
              <a:gd name="connsiteY1" fmla="*/ 258216 h 778420"/>
              <a:gd name="connsiteX2" fmla="*/ 109153 w 1333508"/>
              <a:gd name="connsiteY2" fmla="*/ 128579 h 778420"/>
              <a:gd name="connsiteX3" fmla="*/ 55626 w 1333508"/>
              <a:gd name="connsiteY3" fmla="*/ 12346 h 778420"/>
              <a:gd name="connsiteX4" fmla="*/ 1048603 w 1333508"/>
              <a:gd name="connsiteY4" fmla="*/ 0 h 778420"/>
              <a:gd name="connsiteX5" fmla="*/ 1071393 w 1333508"/>
              <a:gd name="connsiteY5" fmla="*/ 42865 h 778420"/>
              <a:gd name="connsiteX6" fmla="*/ 1096495 w 1333508"/>
              <a:gd name="connsiteY6" fmla="*/ 98274 h 778420"/>
              <a:gd name="connsiteX7" fmla="*/ 1333508 w 1333508"/>
              <a:gd name="connsiteY7" fmla="*/ 339533 h 778420"/>
              <a:gd name="connsiteX8" fmla="*/ 1318338 w 1333508"/>
              <a:gd name="connsiteY8" fmla="*/ 405653 h 778420"/>
              <a:gd name="connsiteX9" fmla="*/ 1301083 w 1333508"/>
              <a:gd name="connsiteY9" fmla="*/ 463705 h 778420"/>
              <a:gd name="connsiteX10" fmla="*/ 1275126 w 1333508"/>
              <a:gd name="connsiteY10" fmla="*/ 518175 h 778420"/>
              <a:gd name="connsiteX11" fmla="*/ 1249886 w 1333508"/>
              <a:gd name="connsiteY11" fmla="*/ 578114 h 778420"/>
              <a:gd name="connsiteX12" fmla="*/ 1201549 w 1333508"/>
              <a:gd name="connsiteY12" fmla="*/ 661622 h 778420"/>
              <a:gd name="connsiteX13" fmla="*/ 1158451 w 1333508"/>
              <a:gd name="connsiteY13" fmla="*/ 713508 h 778420"/>
              <a:gd name="connsiteX14" fmla="*/ 1106671 w 1333508"/>
              <a:gd name="connsiteY14" fmla="*/ 778420 h 778420"/>
              <a:gd name="connsiteX15" fmla="*/ 0 w 1333508"/>
              <a:gd name="connsiteY15" fmla="*/ 324122 h 778420"/>
              <a:gd name="connsiteX0" fmla="*/ 0 w 1318338"/>
              <a:gd name="connsiteY0" fmla="*/ 324122 h 778420"/>
              <a:gd name="connsiteX1" fmla="*/ 70110 w 1318338"/>
              <a:gd name="connsiteY1" fmla="*/ 258216 h 778420"/>
              <a:gd name="connsiteX2" fmla="*/ 109153 w 1318338"/>
              <a:gd name="connsiteY2" fmla="*/ 128579 h 778420"/>
              <a:gd name="connsiteX3" fmla="*/ 55626 w 1318338"/>
              <a:gd name="connsiteY3" fmla="*/ 12346 h 778420"/>
              <a:gd name="connsiteX4" fmla="*/ 1048603 w 1318338"/>
              <a:gd name="connsiteY4" fmla="*/ 0 h 778420"/>
              <a:gd name="connsiteX5" fmla="*/ 1071393 w 1318338"/>
              <a:gd name="connsiteY5" fmla="*/ 42865 h 778420"/>
              <a:gd name="connsiteX6" fmla="*/ 1096495 w 1318338"/>
              <a:gd name="connsiteY6" fmla="*/ 98274 h 778420"/>
              <a:gd name="connsiteX7" fmla="*/ 1118407 w 1318338"/>
              <a:gd name="connsiteY7" fmla="*/ 148311 h 778420"/>
              <a:gd name="connsiteX8" fmla="*/ 1318338 w 1318338"/>
              <a:gd name="connsiteY8" fmla="*/ 405653 h 778420"/>
              <a:gd name="connsiteX9" fmla="*/ 1301083 w 1318338"/>
              <a:gd name="connsiteY9" fmla="*/ 463705 h 778420"/>
              <a:gd name="connsiteX10" fmla="*/ 1275126 w 1318338"/>
              <a:gd name="connsiteY10" fmla="*/ 518175 h 778420"/>
              <a:gd name="connsiteX11" fmla="*/ 1249886 w 1318338"/>
              <a:gd name="connsiteY11" fmla="*/ 578114 h 778420"/>
              <a:gd name="connsiteX12" fmla="*/ 1201549 w 1318338"/>
              <a:gd name="connsiteY12" fmla="*/ 661622 h 778420"/>
              <a:gd name="connsiteX13" fmla="*/ 1158451 w 1318338"/>
              <a:gd name="connsiteY13" fmla="*/ 713508 h 778420"/>
              <a:gd name="connsiteX14" fmla="*/ 1106671 w 1318338"/>
              <a:gd name="connsiteY14" fmla="*/ 778420 h 778420"/>
              <a:gd name="connsiteX15" fmla="*/ 0 w 1318338"/>
              <a:gd name="connsiteY15" fmla="*/ 324122 h 778420"/>
              <a:gd name="connsiteX0" fmla="*/ 0 w 1301083"/>
              <a:gd name="connsiteY0" fmla="*/ 324122 h 778420"/>
              <a:gd name="connsiteX1" fmla="*/ 70110 w 1301083"/>
              <a:gd name="connsiteY1" fmla="*/ 258216 h 778420"/>
              <a:gd name="connsiteX2" fmla="*/ 109153 w 1301083"/>
              <a:gd name="connsiteY2" fmla="*/ 128579 h 778420"/>
              <a:gd name="connsiteX3" fmla="*/ 55626 w 1301083"/>
              <a:gd name="connsiteY3" fmla="*/ 12346 h 778420"/>
              <a:gd name="connsiteX4" fmla="*/ 1048603 w 1301083"/>
              <a:gd name="connsiteY4" fmla="*/ 0 h 778420"/>
              <a:gd name="connsiteX5" fmla="*/ 1071393 w 1301083"/>
              <a:gd name="connsiteY5" fmla="*/ 42865 h 778420"/>
              <a:gd name="connsiteX6" fmla="*/ 1096495 w 1301083"/>
              <a:gd name="connsiteY6" fmla="*/ 98274 h 778420"/>
              <a:gd name="connsiteX7" fmla="*/ 1118407 w 1301083"/>
              <a:gd name="connsiteY7" fmla="*/ 148311 h 778420"/>
              <a:gd name="connsiteX8" fmla="*/ 1138896 w 1301083"/>
              <a:gd name="connsiteY8" fmla="*/ 196968 h 778420"/>
              <a:gd name="connsiteX9" fmla="*/ 1301083 w 1301083"/>
              <a:gd name="connsiteY9" fmla="*/ 463705 h 778420"/>
              <a:gd name="connsiteX10" fmla="*/ 1275126 w 1301083"/>
              <a:gd name="connsiteY10" fmla="*/ 518175 h 778420"/>
              <a:gd name="connsiteX11" fmla="*/ 1249886 w 1301083"/>
              <a:gd name="connsiteY11" fmla="*/ 578114 h 778420"/>
              <a:gd name="connsiteX12" fmla="*/ 1201549 w 1301083"/>
              <a:gd name="connsiteY12" fmla="*/ 661622 h 778420"/>
              <a:gd name="connsiteX13" fmla="*/ 1158451 w 1301083"/>
              <a:gd name="connsiteY13" fmla="*/ 713508 h 778420"/>
              <a:gd name="connsiteX14" fmla="*/ 1106671 w 1301083"/>
              <a:gd name="connsiteY14" fmla="*/ 778420 h 778420"/>
              <a:gd name="connsiteX15" fmla="*/ 0 w 1301083"/>
              <a:gd name="connsiteY15" fmla="*/ 324122 h 778420"/>
              <a:gd name="connsiteX0" fmla="*/ 0 w 1275126"/>
              <a:gd name="connsiteY0" fmla="*/ 324122 h 778420"/>
              <a:gd name="connsiteX1" fmla="*/ 70110 w 1275126"/>
              <a:gd name="connsiteY1" fmla="*/ 258216 h 778420"/>
              <a:gd name="connsiteX2" fmla="*/ 109153 w 1275126"/>
              <a:gd name="connsiteY2" fmla="*/ 128579 h 778420"/>
              <a:gd name="connsiteX3" fmla="*/ 55626 w 1275126"/>
              <a:gd name="connsiteY3" fmla="*/ 12346 h 778420"/>
              <a:gd name="connsiteX4" fmla="*/ 1048603 w 1275126"/>
              <a:gd name="connsiteY4" fmla="*/ 0 h 778420"/>
              <a:gd name="connsiteX5" fmla="*/ 1071393 w 1275126"/>
              <a:gd name="connsiteY5" fmla="*/ 42865 h 778420"/>
              <a:gd name="connsiteX6" fmla="*/ 1096495 w 1275126"/>
              <a:gd name="connsiteY6" fmla="*/ 98274 h 778420"/>
              <a:gd name="connsiteX7" fmla="*/ 1118407 w 1275126"/>
              <a:gd name="connsiteY7" fmla="*/ 148311 h 778420"/>
              <a:gd name="connsiteX8" fmla="*/ 1138896 w 1275126"/>
              <a:gd name="connsiteY8" fmla="*/ 196968 h 778420"/>
              <a:gd name="connsiteX9" fmla="*/ 1148097 w 1275126"/>
              <a:gd name="connsiteY9" fmla="*/ 243669 h 778420"/>
              <a:gd name="connsiteX10" fmla="*/ 1275126 w 1275126"/>
              <a:gd name="connsiteY10" fmla="*/ 518175 h 778420"/>
              <a:gd name="connsiteX11" fmla="*/ 1249886 w 1275126"/>
              <a:gd name="connsiteY11" fmla="*/ 578114 h 778420"/>
              <a:gd name="connsiteX12" fmla="*/ 1201549 w 1275126"/>
              <a:gd name="connsiteY12" fmla="*/ 661622 h 778420"/>
              <a:gd name="connsiteX13" fmla="*/ 1158451 w 1275126"/>
              <a:gd name="connsiteY13" fmla="*/ 713508 h 778420"/>
              <a:gd name="connsiteX14" fmla="*/ 1106671 w 1275126"/>
              <a:gd name="connsiteY14" fmla="*/ 778420 h 778420"/>
              <a:gd name="connsiteX15" fmla="*/ 0 w 1275126"/>
              <a:gd name="connsiteY15" fmla="*/ 324122 h 778420"/>
              <a:gd name="connsiteX0" fmla="*/ 0 w 1249886"/>
              <a:gd name="connsiteY0" fmla="*/ 324122 h 778420"/>
              <a:gd name="connsiteX1" fmla="*/ 70110 w 1249886"/>
              <a:gd name="connsiteY1" fmla="*/ 258216 h 778420"/>
              <a:gd name="connsiteX2" fmla="*/ 109153 w 1249886"/>
              <a:gd name="connsiteY2" fmla="*/ 128579 h 778420"/>
              <a:gd name="connsiteX3" fmla="*/ 55626 w 1249886"/>
              <a:gd name="connsiteY3" fmla="*/ 12346 h 778420"/>
              <a:gd name="connsiteX4" fmla="*/ 1048603 w 1249886"/>
              <a:gd name="connsiteY4" fmla="*/ 0 h 778420"/>
              <a:gd name="connsiteX5" fmla="*/ 1071393 w 1249886"/>
              <a:gd name="connsiteY5" fmla="*/ 42865 h 778420"/>
              <a:gd name="connsiteX6" fmla="*/ 1096495 w 1249886"/>
              <a:gd name="connsiteY6" fmla="*/ 98274 h 778420"/>
              <a:gd name="connsiteX7" fmla="*/ 1118407 w 1249886"/>
              <a:gd name="connsiteY7" fmla="*/ 148311 h 778420"/>
              <a:gd name="connsiteX8" fmla="*/ 1138896 w 1249886"/>
              <a:gd name="connsiteY8" fmla="*/ 196968 h 778420"/>
              <a:gd name="connsiteX9" fmla="*/ 1148097 w 1249886"/>
              <a:gd name="connsiteY9" fmla="*/ 243669 h 778420"/>
              <a:gd name="connsiteX10" fmla="*/ 1158949 w 1249886"/>
              <a:gd name="connsiteY10" fmla="*/ 297266 h 778420"/>
              <a:gd name="connsiteX11" fmla="*/ 1249886 w 1249886"/>
              <a:gd name="connsiteY11" fmla="*/ 578114 h 778420"/>
              <a:gd name="connsiteX12" fmla="*/ 1201549 w 1249886"/>
              <a:gd name="connsiteY12" fmla="*/ 661622 h 778420"/>
              <a:gd name="connsiteX13" fmla="*/ 1158451 w 1249886"/>
              <a:gd name="connsiteY13" fmla="*/ 713508 h 778420"/>
              <a:gd name="connsiteX14" fmla="*/ 1106671 w 1249886"/>
              <a:gd name="connsiteY14" fmla="*/ 778420 h 778420"/>
              <a:gd name="connsiteX15" fmla="*/ 0 w 1249886"/>
              <a:gd name="connsiteY15" fmla="*/ 324122 h 778420"/>
              <a:gd name="connsiteX0" fmla="*/ 0 w 1262539"/>
              <a:gd name="connsiteY0" fmla="*/ 324122 h 778420"/>
              <a:gd name="connsiteX1" fmla="*/ 70110 w 1262539"/>
              <a:gd name="connsiteY1" fmla="*/ 258216 h 778420"/>
              <a:gd name="connsiteX2" fmla="*/ 109153 w 1262539"/>
              <a:gd name="connsiteY2" fmla="*/ 128579 h 778420"/>
              <a:gd name="connsiteX3" fmla="*/ 55626 w 1262539"/>
              <a:gd name="connsiteY3" fmla="*/ 12346 h 778420"/>
              <a:gd name="connsiteX4" fmla="*/ 1048603 w 1262539"/>
              <a:gd name="connsiteY4" fmla="*/ 0 h 778420"/>
              <a:gd name="connsiteX5" fmla="*/ 1071393 w 1262539"/>
              <a:gd name="connsiteY5" fmla="*/ 42865 h 778420"/>
              <a:gd name="connsiteX6" fmla="*/ 1096495 w 1262539"/>
              <a:gd name="connsiteY6" fmla="*/ 98274 h 778420"/>
              <a:gd name="connsiteX7" fmla="*/ 1118407 w 1262539"/>
              <a:gd name="connsiteY7" fmla="*/ 148311 h 778420"/>
              <a:gd name="connsiteX8" fmla="*/ 1138896 w 1262539"/>
              <a:gd name="connsiteY8" fmla="*/ 196968 h 778420"/>
              <a:gd name="connsiteX9" fmla="*/ 1148097 w 1262539"/>
              <a:gd name="connsiteY9" fmla="*/ 243669 h 778420"/>
              <a:gd name="connsiteX10" fmla="*/ 1158949 w 1262539"/>
              <a:gd name="connsiteY10" fmla="*/ 297266 h 778420"/>
              <a:gd name="connsiteX11" fmla="*/ 1262539 w 1262539"/>
              <a:gd name="connsiteY11" fmla="*/ 383400 h 778420"/>
              <a:gd name="connsiteX12" fmla="*/ 1201549 w 1262539"/>
              <a:gd name="connsiteY12" fmla="*/ 661622 h 778420"/>
              <a:gd name="connsiteX13" fmla="*/ 1158451 w 1262539"/>
              <a:gd name="connsiteY13" fmla="*/ 713508 h 778420"/>
              <a:gd name="connsiteX14" fmla="*/ 1106671 w 1262539"/>
              <a:gd name="connsiteY14" fmla="*/ 778420 h 778420"/>
              <a:gd name="connsiteX15" fmla="*/ 0 w 1262539"/>
              <a:gd name="connsiteY15" fmla="*/ 324122 h 778420"/>
              <a:gd name="connsiteX0" fmla="*/ 0 w 1262539"/>
              <a:gd name="connsiteY0" fmla="*/ 324122 h 778420"/>
              <a:gd name="connsiteX1" fmla="*/ 70110 w 1262539"/>
              <a:gd name="connsiteY1" fmla="*/ 258216 h 778420"/>
              <a:gd name="connsiteX2" fmla="*/ 109153 w 1262539"/>
              <a:gd name="connsiteY2" fmla="*/ 128579 h 778420"/>
              <a:gd name="connsiteX3" fmla="*/ 55626 w 1262539"/>
              <a:gd name="connsiteY3" fmla="*/ 12346 h 778420"/>
              <a:gd name="connsiteX4" fmla="*/ 1048603 w 1262539"/>
              <a:gd name="connsiteY4" fmla="*/ 0 h 778420"/>
              <a:gd name="connsiteX5" fmla="*/ 1071393 w 1262539"/>
              <a:gd name="connsiteY5" fmla="*/ 42865 h 778420"/>
              <a:gd name="connsiteX6" fmla="*/ 1096495 w 1262539"/>
              <a:gd name="connsiteY6" fmla="*/ 98274 h 778420"/>
              <a:gd name="connsiteX7" fmla="*/ 1118407 w 1262539"/>
              <a:gd name="connsiteY7" fmla="*/ 148311 h 778420"/>
              <a:gd name="connsiteX8" fmla="*/ 1138896 w 1262539"/>
              <a:gd name="connsiteY8" fmla="*/ 196968 h 778420"/>
              <a:gd name="connsiteX9" fmla="*/ 1148097 w 1262539"/>
              <a:gd name="connsiteY9" fmla="*/ 243669 h 778420"/>
              <a:gd name="connsiteX10" fmla="*/ 1158949 w 1262539"/>
              <a:gd name="connsiteY10" fmla="*/ 297266 h 778420"/>
              <a:gd name="connsiteX11" fmla="*/ 1262539 w 1262539"/>
              <a:gd name="connsiteY11" fmla="*/ 383400 h 778420"/>
              <a:gd name="connsiteX12" fmla="*/ 1256762 w 1262539"/>
              <a:gd name="connsiteY12" fmla="*/ 447698 h 778420"/>
              <a:gd name="connsiteX13" fmla="*/ 1158451 w 1262539"/>
              <a:gd name="connsiteY13" fmla="*/ 713508 h 778420"/>
              <a:gd name="connsiteX14" fmla="*/ 1106671 w 1262539"/>
              <a:gd name="connsiteY14" fmla="*/ 778420 h 778420"/>
              <a:gd name="connsiteX15" fmla="*/ 0 w 1262539"/>
              <a:gd name="connsiteY15" fmla="*/ 324122 h 778420"/>
              <a:gd name="connsiteX0" fmla="*/ 0 w 1262539"/>
              <a:gd name="connsiteY0" fmla="*/ 324122 h 778420"/>
              <a:gd name="connsiteX1" fmla="*/ 70110 w 1262539"/>
              <a:gd name="connsiteY1" fmla="*/ 258216 h 778420"/>
              <a:gd name="connsiteX2" fmla="*/ 109153 w 1262539"/>
              <a:gd name="connsiteY2" fmla="*/ 128579 h 778420"/>
              <a:gd name="connsiteX3" fmla="*/ 55626 w 1262539"/>
              <a:gd name="connsiteY3" fmla="*/ 12346 h 778420"/>
              <a:gd name="connsiteX4" fmla="*/ 1048603 w 1262539"/>
              <a:gd name="connsiteY4" fmla="*/ 0 h 778420"/>
              <a:gd name="connsiteX5" fmla="*/ 1071393 w 1262539"/>
              <a:gd name="connsiteY5" fmla="*/ 42865 h 778420"/>
              <a:gd name="connsiteX6" fmla="*/ 1096495 w 1262539"/>
              <a:gd name="connsiteY6" fmla="*/ 98274 h 778420"/>
              <a:gd name="connsiteX7" fmla="*/ 1118407 w 1262539"/>
              <a:gd name="connsiteY7" fmla="*/ 148311 h 778420"/>
              <a:gd name="connsiteX8" fmla="*/ 1138896 w 1262539"/>
              <a:gd name="connsiteY8" fmla="*/ 196968 h 778420"/>
              <a:gd name="connsiteX9" fmla="*/ 1148097 w 1262539"/>
              <a:gd name="connsiteY9" fmla="*/ 243669 h 778420"/>
              <a:gd name="connsiteX10" fmla="*/ 1158949 w 1262539"/>
              <a:gd name="connsiteY10" fmla="*/ 297266 h 778420"/>
              <a:gd name="connsiteX11" fmla="*/ 1262539 w 1262539"/>
              <a:gd name="connsiteY11" fmla="*/ 383400 h 778420"/>
              <a:gd name="connsiteX12" fmla="*/ 1256762 w 1262539"/>
              <a:gd name="connsiteY12" fmla="*/ 447698 h 778420"/>
              <a:gd name="connsiteX13" fmla="*/ 1213664 w 1262539"/>
              <a:gd name="connsiteY13" fmla="*/ 523160 h 778420"/>
              <a:gd name="connsiteX14" fmla="*/ 1106671 w 1262539"/>
              <a:gd name="connsiteY14" fmla="*/ 778420 h 778420"/>
              <a:gd name="connsiteX15" fmla="*/ 0 w 1262539"/>
              <a:gd name="connsiteY15" fmla="*/ 324122 h 778420"/>
              <a:gd name="connsiteX0" fmla="*/ 0 w 1262539"/>
              <a:gd name="connsiteY0" fmla="*/ 324122 h 523160"/>
              <a:gd name="connsiteX1" fmla="*/ 70110 w 1262539"/>
              <a:gd name="connsiteY1" fmla="*/ 258216 h 523160"/>
              <a:gd name="connsiteX2" fmla="*/ 109153 w 1262539"/>
              <a:gd name="connsiteY2" fmla="*/ 128579 h 523160"/>
              <a:gd name="connsiteX3" fmla="*/ 55626 w 1262539"/>
              <a:gd name="connsiteY3" fmla="*/ 12346 h 523160"/>
              <a:gd name="connsiteX4" fmla="*/ 1048603 w 1262539"/>
              <a:gd name="connsiteY4" fmla="*/ 0 h 523160"/>
              <a:gd name="connsiteX5" fmla="*/ 1071393 w 1262539"/>
              <a:gd name="connsiteY5" fmla="*/ 42865 h 523160"/>
              <a:gd name="connsiteX6" fmla="*/ 1096495 w 1262539"/>
              <a:gd name="connsiteY6" fmla="*/ 98274 h 523160"/>
              <a:gd name="connsiteX7" fmla="*/ 1118407 w 1262539"/>
              <a:gd name="connsiteY7" fmla="*/ 148311 h 523160"/>
              <a:gd name="connsiteX8" fmla="*/ 1138896 w 1262539"/>
              <a:gd name="connsiteY8" fmla="*/ 196968 h 523160"/>
              <a:gd name="connsiteX9" fmla="*/ 1148097 w 1262539"/>
              <a:gd name="connsiteY9" fmla="*/ 243669 h 523160"/>
              <a:gd name="connsiteX10" fmla="*/ 1158949 w 1262539"/>
              <a:gd name="connsiteY10" fmla="*/ 297266 h 523160"/>
              <a:gd name="connsiteX11" fmla="*/ 1262539 w 1262539"/>
              <a:gd name="connsiteY11" fmla="*/ 383400 h 523160"/>
              <a:gd name="connsiteX12" fmla="*/ 1256762 w 1262539"/>
              <a:gd name="connsiteY12" fmla="*/ 447698 h 523160"/>
              <a:gd name="connsiteX13" fmla="*/ 1213664 w 1262539"/>
              <a:gd name="connsiteY13" fmla="*/ 523160 h 523160"/>
              <a:gd name="connsiteX14" fmla="*/ 1173387 w 1262539"/>
              <a:gd name="connsiteY14" fmla="*/ 448366 h 523160"/>
              <a:gd name="connsiteX15" fmla="*/ 0 w 1262539"/>
              <a:gd name="connsiteY15" fmla="*/ 324122 h 523160"/>
              <a:gd name="connsiteX0" fmla="*/ 0 w 1262539"/>
              <a:gd name="connsiteY0" fmla="*/ 324122 h 523160"/>
              <a:gd name="connsiteX1" fmla="*/ 70110 w 1262539"/>
              <a:gd name="connsiteY1" fmla="*/ 258216 h 523160"/>
              <a:gd name="connsiteX2" fmla="*/ 109153 w 1262539"/>
              <a:gd name="connsiteY2" fmla="*/ 128579 h 523160"/>
              <a:gd name="connsiteX3" fmla="*/ 55626 w 1262539"/>
              <a:gd name="connsiteY3" fmla="*/ 12346 h 523160"/>
              <a:gd name="connsiteX4" fmla="*/ 1048603 w 1262539"/>
              <a:gd name="connsiteY4" fmla="*/ 0 h 523160"/>
              <a:gd name="connsiteX5" fmla="*/ 1071393 w 1262539"/>
              <a:gd name="connsiteY5" fmla="*/ 42865 h 523160"/>
              <a:gd name="connsiteX6" fmla="*/ 1096495 w 1262539"/>
              <a:gd name="connsiteY6" fmla="*/ 98274 h 523160"/>
              <a:gd name="connsiteX7" fmla="*/ 1118407 w 1262539"/>
              <a:gd name="connsiteY7" fmla="*/ 148311 h 523160"/>
              <a:gd name="connsiteX8" fmla="*/ 1134295 w 1262539"/>
              <a:gd name="connsiteY8" fmla="*/ 196968 h 523160"/>
              <a:gd name="connsiteX9" fmla="*/ 1148097 w 1262539"/>
              <a:gd name="connsiteY9" fmla="*/ 243669 h 523160"/>
              <a:gd name="connsiteX10" fmla="*/ 1158949 w 1262539"/>
              <a:gd name="connsiteY10" fmla="*/ 297266 h 523160"/>
              <a:gd name="connsiteX11" fmla="*/ 1262539 w 1262539"/>
              <a:gd name="connsiteY11" fmla="*/ 383400 h 523160"/>
              <a:gd name="connsiteX12" fmla="*/ 1256762 w 1262539"/>
              <a:gd name="connsiteY12" fmla="*/ 447698 h 523160"/>
              <a:gd name="connsiteX13" fmla="*/ 1213664 w 1262539"/>
              <a:gd name="connsiteY13" fmla="*/ 523160 h 523160"/>
              <a:gd name="connsiteX14" fmla="*/ 1173387 w 1262539"/>
              <a:gd name="connsiteY14" fmla="*/ 448366 h 523160"/>
              <a:gd name="connsiteX15" fmla="*/ 0 w 1262539"/>
              <a:gd name="connsiteY15" fmla="*/ 324122 h 523160"/>
              <a:gd name="connsiteX0" fmla="*/ 0 w 1256762"/>
              <a:gd name="connsiteY0" fmla="*/ 324122 h 523160"/>
              <a:gd name="connsiteX1" fmla="*/ 70110 w 1256762"/>
              <a:gd name="connsiteY1" fmla="*/ 258216 h 523160"/>
              <a:gd name="connsiteX2" fmla="*/ 109153 w 1256762"/>
              <a:gd name="connsiteY2" fmla="*/ 128579 h 523160"/>
              <a:gd name="connsiteX3" fmla="*/ 55626 w 1256762"/>
              <a:gd name="connsiteY3" fmla="*/ 12346 h 523160"/>
              <a:gd name="connsiteX4" fmla="*/ 1048603 w 1256762"/>
              <a:gd name="connsiteY4" fmla="*/ 0 h 523160"/>
              <a:gd name="connsiteX5" fmla="*/ 1071393 w 1256762"/>
              <a:gd name="connsiteY5" fmla="*/ 42865 h 523160"/>
              <a:gd name="connsiteX6" fmla="*/ 1096495 w 1256762"/>
              <a:gd name="connsiteY6" fmla="*/ 98274 h 523160"/>
              <a:gd name="connsiteX7" fmla="*/ 1118407 w 1256762"/>
              <a:gd name="connsiteY7" fmla="*/ 148311 h 523160"/>
              <a:gd name="connsiteX8" fmla="*/ 1134295 w 1256762"/>
              <a:gd name="connsiteY8" fmla="*/ 196968 h 523160"/>
              <a:gd name="connsiteX9" fmla="*/ 1148097 w 1256762"/>
              <a:gd name="connsiteY9" fmla="*/ 243669 h 523160"/>
              <a:gd name="connsiteX10" fmla="*/ 1158949 w 1256762"/>
              <a:gd name="connsiteY10" fmla="*/ 297266 h 523160"/>
              <a:gd name="connsiteX11" fmla="*/ 1165916 w 1256762"/>
              <a:gd name="connsiteY11" fmla="*/ 344108 h 523160"/>
              <a:gd name="connsiteX12" fmla="*/ 1256762 w 1256762"/>
              <a:gd name="connsiteY12" fmla="*/ 447698 h 523160"/>
              <a:gd name="connsiteX13" fmla="*/ 1213664 w 1256762"/>
              <a:gd name="connsiteY13" fmla="*/ 523160 h 523160"/>
              <a:gd name="connsiteX14" fmla="*/ 1173387 w 1256762"/>
              <a:gd name="connsiteY14" fmla="*/ 448366 h 523160"/>
              <a:gd name="connsiteX15" fmla="*/ 0 w 1256762"/>
              <a:gd name="connsiteY15" fmla="*/ 324122 h 523160"/>
              <a:gd name="connsiteX0" fmla="*/ 0 w 1213664"/>
              <a:gd name="connsiteY0" fmla="*/ 324122 h 523160"/>
              <a:gd name="connsiteX1" fmla="*/ 70110 w 1213664"/>
              <a:gd name="connsiteY1" fmla="*/ 258216 h 523160"/>
              <a:gd name="connsiteX2" fmla="*/ 109153 w 1213664"/>
              <a:gd name="connsiteY2" fmla="*/ 128579 h 523160"/>
              <a:gd name="connsiteX3" fmla="*/ 55626 w 1213664"/>
              <a:gd name="connsiteY3" fmla="*/ 12346 h 523160"/>
              <a:gd name="connsiteX4" fmla="*/ 1048603 w 1213664"/>
              <a:gd name="connsiteY4" fmla="*/ 0 h 523160"/>
              <a:gd name="connsiteX5" fmla="*/ 1071393 w 1213664"/>
              <a:gd name="connsiteY5" fmla="*/ 42865 h 523160"/>
              <a:gd name="connsiteX6" fmla="*/ 1096495 w 1213664"/>
              <a:gd name="connsiteY6" fmla="*/ 98274 h 523160"/>
              <a:gd name="connsiteX7" fmla="*/ 1118407 w 1213664"/>
              <a:gd name="connsiteY7" fmla="*/ 148311 h 523160"/>
              <a:gd name="connsiteX8" fmla="*/ 1134295 w 1213664"/>
              <a:gd name="connsiteY8" fmla="*/ 196968 h 523160"/>
              <a:gd name="connsiteX9" fmla="*/ 1148097 w 1213664"/>
              <a:gd name="connsiteY9" fmla="*/ 243669 h 523160"/>
              <a:gd name="connsiteX10" fmla="*/ 1158949 w 1213664"/>
              <a:gd name="connsiteY10" fmla="*/ 297266 h 523160"/>
              <a:gd name="connsiteX11" fmla="*/ 1165916 w 1213664"/>
              <a:gd name="connsiteY11" fmla="*/ 344108 h 523160"/>
              <a:gd name="connsiteX12" fmla="*/ 1170491 w 1213664"/>
              <a:gd name="connsiteY12" fmla="*/ 390070 h 523160"/>
              <a:gd name="connsiteX13" fmla="*/ 1213664 w 1213664"/>
              <a:gd name="connsiteY13" fmla="*/ 523160 h 523160"/>
              <a:gd name="connsiteX14" fmla="*/ 1173387 w 1213664"/>
              <a:gd name="connsiteY14" fmla="*/ 448366 h 523160"/>
              <a:gd name="connsiteX15" fmla="*/ 0 w 1213664"/>
              <a:gd name="connsiteY15" fmla="*/ 324122 h 523160"/>
              <a:gd name="connsiteX0" fmla="*/ 0 w 1173387"/>
              <a:gd name="connsiteY0" fmla="*/ 324122 h 448366"/>
              <a:gd name="connsiteX1" fmla="*/ 70110 w 1173387"/>
              <a:gd name="connsiteY1" fmla="*/ 258216 h 448366"/>
              <a:gd name="connsiteX2" fmla="*/ 109153 w 1173387"/>
              <a:gd name="connsiteY2" fmla="*/ 128579 h 448366"/>
              <a:gd name="connsiteX3" fmla="*/ 55626 w 1173387"/>
              <a:gd name="connsiteY3" fmla="*/ 12346 h 448366"/>
              <a:gd name="connsiteX4" fmla="*/ 1048603 w 1173387"/>
              <a:gd name="connsiteY4" fmla="*/ 0 h 448366"/>
              <a:gd name="connsiteX5" fmla="*/ 1071393 w 1173387"/>
              <a:gd name="connsiteY5" fmla="*/ 42865 h 448366"/>
              <a:gd name="connsiteX6" fmla="*/ 1096495 w 1173387"/>
              <a:gd name="connsiteY6" fmla="*/ 98274 h 448366"/>
              <a:gd name="connsiteX7" fmla="*/ 1118407 w 1173387"/>
              <a:gd name="connsiteY7" fmla="*/ 148311 h 448366"/>
              <a:gd name="connsiteX8" fmla="*/ 1134295 w 1173387"/>
              <a:gd name="connsiteY8" fmla="*/ 196968 h 448366"/>
              <a:gd name="connsiteX9" fmla="*/ 1148097 w 1173387"/>
              <a:gd name="connsiteY9" fmla="*/ 243669 h 448366"/>
              <a:gd name="connsiteX10" fmla="*/ 1158949 w 1173387"/>
              <a:gd name="connsiteY10" fmla="*/ 297266 h 448366"/>
              <a:gd name="connsiteX11" fmla="*/ 1165916 w 1173387"/>
              <a:gd name="connsiteY11" fmla="*/ 344108 h 448366"/>
              <a:gd name="connsiteX12" fmla="*/ 1170491 w 1173387"/>
              <a:gd name="connsiteY12" fmla="*/ 390070 h 448366"/>
              <a:gd name="connsiteX13" fmla="*/ 1168803 w 1173387"/>
              <a:gd name="connsiteY13" fmla="*/ 426239 h 448366"/>
              <a:gd name="connsiteX14" fmla="*/ 1173387 w 1173387"/>
              <a:gd name="connsiteY14" fmla="*/ 448366 h 448366"/>
              <a:gd name="connsiteX15" fmla="*/ 0 w 1173387"/>
              <a:gd name="connsiteY15" fmla="*/ 324122 h 448366"/>
              <a:gd name="connsiteX0" fmla="*/ 0 w 1175118"/>
              <a:gd name="connsiteY0" fmla="*/ 324122 h 448366"/>
              <a:gd name="connsiteX1" fmla="*/ 70110 w 1175118"/>
              <a:gd name="connsiteY1" fmla="*/ 258216 h 448366"/>
              <a:gd name="connsiteX2" fmla="*/ 109153 w 1175118"/>
              <a:gd name="connsiteY2" fmla="*/ 128579 h 448366"/>
              <a:gd name="connsiteX3" fmla="*/ 55626 w 1175118"/>
              <a:gd name="connsiteY3" fmla="*/ 12346 h 448366"/>
              <a:gd name="connsiteX4" fmla="*/ 1048603 w 1175118"/>
              <a:gd name="connsiteY4" fmla="*/ 0 h 448366"/>
              <a:gd name="connsiteX5" fmla="*/ 1071393 w 1175118"/>
              <a:gd name="connsiteY5" fmla="*/ 42865 h 448366"/>
              <a:gd name="connsiteX6" fmla="*/ 1096495 w 1175118"/>
              <a:gd name="connsiteY6" fmla="*/ 98274 h 448366"/>
              <a:gd name="connsiteX7" fmla="*/ 1118407 w 1175118"/>
              <a:gd name="connsiteY7" fmla="*/ 148311 h 448366"/>
              <a:gd name="connsiteX8" fmla="*/ 1134295 w 1175118"/>
              <a:gd name="connsiteY8" fmla="*/ 196968 h 448366"/>
              <a:gd name="connsiteX9" fmla="*/ 1148097 w 1175118"/>
              <a:gd name="connsiteY9" fmla="*/ 243669 h 448366"/>
              <a:gd name="connsiteX10" fmla="*/ 1158949 w 1175118"/>
              <a:gd name="connsiteY10" fmla="*/ 297266 h 448366"/>
              <a:gd name="connsiteX11" fmla="*/ 1165916 w 1175118"/>
              <a:gd name="connsiteY11" fmla="*/ 344108 h 448366"/>
              <a:gd name="connsiteX12" fmla="*/ 1170491 w 1175118"/>
              <a:gd name="connsiteY12" fmla="*/ 390070 h 448366"/>
              <a:gd name="connsiteX13" fmla="*/ 1174555 w 1175118"/>
              <a:gd name="connsiteY13" fmla="*/ 424493 h 448366"/>
              <a:gd name="connsiteX14" fmla="*/ 1173387 w 1175118"/>
              <a:gd name="connsiteY14" fmla="*/ 448366 h 448366"/>
              <a:gd name="connsiteX15" fmla="*/ 0 w 1175118"/>
              <a:gd name="connsiteY15" fmla="*/ 324122 h 448366"/>
              <a:gd name="connsiteX0" fmla="*/ 0 w 1175118"/>
              <a:gd name="connsiteY0" fmla="*/ 324122 h 448366"/>
              <a:gd name="connsiteX1" fmla="*/ 51706 w 1175118"/>
              <a:gd name="connsiteY1" fmla="*/ 273060 h 448366"/>
              <a:gd name="connsiteX2" fmla="*/ 109153 w 1175118"/>
              <a:gd name="connsiteY2" fmla="*/ 128579 h 448366"/>
              <a:gd name="connsiteX3" fmla="*/ 55626 w 1175118"/>
              <a:gd name="connsiteY3" fmla="*/ 12346 h 448366"/>
              <a:gd name="connsiteX4" fmla="*/ 1048603 w 1175118"/>
              <a:gd name="connsiteY4" fmla="*/ 0 h 448366"/>
              <a:gd name="connsiteX5" fmla="*/ 1071393 w 1175118"/>
              <a:gd name="connsiteY5" fmla="*/ 42865 h 448366"/>
              <a:gd name="connsiteX6" fmla="*/ 1096495 w 1175118"/>
              <a:gd name="connsiteY6" fmla="*/ 98274 h 448366"/>
              <a:gd name="connsiteX7" fmla="*/ 1118407 w 1175118"/>
              <a:gd name="connsiteY7" fmla="*/ 148311 h 448366"/>
              <a:gd name="connsiteX8" fmla="*/ 1134295 w 1175118"/>
              <a:gd name="connsiteY8" fmla="*/ 196968 h 448366"/>
              <a:gd name="connsiteX9" fmla="*/ 1148097 w 1175118"/>
              <a:gd name="connsiteY9" fmla="*/ 243669 h 448366"/>
              <a:gd name="connsiteX10" fmla="*/ 1158949 w 1175118"/>
              <a:gd name="connsiteY10" fmla="*/ 297266 h 448366"/>
              <a:gd name="connsiteX11" fmla="*/ 1165916 w 1175118"/>
              <a:gd name="connsiteY11" fmla="*/ 344108 h 448366"/>
              <a:gd name="connsiteX12" fmla="*/ 1170491 w 1175118"/>
              <a:gd name="connsiteY12" fmla="*/ 390070 h 448366"/>
              <a:gd name="connsiteX13" fmla="*/ 1174555 w 1175118"/>
              <a:gd name="connsiteY13" fmla="*/ 424493 h 448366"/>
              <a:gd name="connsiteX14" fmla="*/ 1173387 w 1175118"/>
              <a:gd name="connsiteY14" fmla="*/ 448366 h 448366"/>
              <a:gd name="connsiteX15" fmla="*/ 0 w 1175118"/>
              <a:gd name="connsiteY15" fmla="*/ 324122 h 448366"/>
              <a:gd name="connsiteX0" fmla="*/ 0 w 1175118"/>
              <a:gd name="connsiteY0" fmla="*/ 324122 h 448366"/>
              <a:gd name="connsiteX1" fmla="*/ 51706 w 1175118"/>
              <a:gd name="connsiteY1" fmla="*/ 273060 h 448366"/>
              <a:gd name="connsiteX2" fmla="*/ 78443 w 1175118"/>
              <a:gd name="connsiteY2" fmla="*/ 202545 h 448366"/>
              <a:gd name="connsiteX3" fmla="*/ 109153 w 1175118"/>
              <a:gd name="connsiteY3" fmla="*/ 128579 h 448366"/>
              <a:gd name="connsiteX4" fmla="*/ 55626 w 1175118"/>
              <a:gd name="connsiteY4" fmla="*/ 12346 h 448366"/>
              <a:gd name="connsiteX5" fmla="*/ 1048603 w 1175118"/>
              <a:gd name="connsiteY5" fmla="*/ 0 h 448366"/>
              <a:gd name="connsiteX6" fmla="*/ 1071393 w 1175118"/>
              <a:gd name="connsiteY6" fmla="*/ 42865 h 448366"/>
              <a:gd name="connsiteX7" fmla="*/ 1096495 w 1175118"/>
              <a:gd name="connsiteY7" fmla="*/ 98274 h 448366"/>
              <a:gd name="connsiteX8" fmla="*/ 1118407 w 1175118"/>
              <a:gd name="connsiteY8" fmla="*/ 148311 h 448366"/>
              <a:gd name="connsiteX9" fmla="*/ 1134295 w 1175118"/>
              <a:gd name="connsiteY9" fmla="*/ 196968 h 448366"/>
              <a:gd name="connsiteX10" fmla="*/ 1148097 w 1175118"/>
              <a:gd name="connsiteY10" fmla="*/ 243669 h 448366"/>
              <a:gd name="connsiteX11" fmla="*/ 1158949 w 1175118"/>
              <a:gd name="connsiteY11" fmla="*/ 297266 h 448366"/>
              <a:gd name="connsiteX12" fmla="*/ 1165916 w 1175118"/>
              <a:gd name="connsiteY12" fmla="*/ 344108 h 448366"/>
              <a:gd name="connsiteX13" fmla="*/ 1170491 w 1175118"/>
              <a:gd name="connsiteY13" fmla="*/ 390070 h 448366"/>
              <a:gd name="connsiteX14" fmla="*/ 1174555 w 1175118"/>
              <a:gd name="connsiteY14" fmla="*/ 424493 h 448366"/>
              <a:gd name="connsiteX15" fmla="*/ 1173387 w 1175118"/>
              <a:gd name="connsiteY15" fmla="*/ 448366 h 448366"/>
              <a:gd name="connsiteX16" fmla="*/ 0 w 1175118"/>
              <a:gd name="connsiteY16"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9153 w 1175118"/>
              <a:gd name="connsiteY3" fmla="*/ 128579 h 448366"/>
              <a:gd name="connsiteX4" fmla="*/ 55626 w 1175118"/>
              <a:gd name="connsiteY4" fmla="*/ 12346 h 448366"/>
              <a:gd name="connsiteX5" fmla="*/ 1048603 w 1175118"/>
              <a:gd name="connsiteY5" fmla="*/ 0 h 448366"/>
              <a:gd name="connsiteX6" fmla="*/ 1071393 w 1175118"/>
              <a:gd name="connsiteY6" fmla="*/ 42865 h 448366"/>
              <a:gd name="connsiteX7" fmla="*/ 1096495 w 1175118"/>
              <a:gd name="connsiteY7" fmla="*/ 98274 h 448366"/>
              <a:gd name="connsiteX8" fmla="*/ 1118407 w 1175118"/>
              <a:gd name="connsiteY8" fmla="*/ 148311 h 448366"/>
              <a:gd name="connsiteX9" fmla="*/ 1134295 w 1175118"/>
              <a:gd name="connsiteY9" fmla="*/ 196968 h 448366"/>
              <a:gd name="connsiteX10" fmla="*/ 1148097 w 1175118"/>
              <a:gd name="connsiteY10" fmla="*/ 243669 h 448366"/>
              <a:gd name="connsiteX11" fmla="*/ 1158949 w 1175118"/>
              <a:gd name="connsiteY11" fmla="*/ 297266 h 448366"/>
              <a:gd name="connsiteX12" fmla="*/ 1165916 w 1175118"/>
              <a:gd name="connsiteY12" fmla="*/ 344108 h 448366"/>
              <a:gd name="connsiteX13" fmla="*/ 1170491 w 1175118"/>
              <a:gd name="connsiteY13" fmla="*/ 390070 h 448366"/>
              <a:gd name="connsiteX14" fmla="*/ 1174555 w 1175118"/>
              <a:gd name="connsiteY14" fmla="*/ 424493 h 448366"/>
              <a:gd name="connsiteX15" fmla="*/ 1173387 w 1175118"/>
              <a:gd name="connsiteY15" fmla="*/ 448366 h 448366"/>
              <a:gd name="connsiteX16" fmla="*/ 0 w 1175118"/>
              <a:gd name="connsiteY16"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55626 w 1175118"/>
              <a:gd name="connsiteY4" fmla="*/ 12346 h 448366"/>
              <a:gd name="connsiteX5" fmla="*/ 1048603 w 1175118"/>
              <a:gd name="connsiteY5" fmla="*/ 0 h 448366"/>
              <a:gd name="connsiteX6" fmla="*/ 1071393 w 1175118"/>
              <a:gd name="connsiteY6" fmla="*/ 42865 h 448366"/>
              <a:gd name="connsiteX7" fmla="*/ 1096495 w 1175118"/>
              <a:gd name="connsiteY7" fmla="*/ 98274 h 448366"/>
              <a:gd name="connsiteX8" fmla="*/ 1118407 w 1175118"/>
              <a:gd name="connsiteY8" fmla="*/ 148311 h 448366"/>
              <a:gd name="connsiteX9" fmla="*/ 1134295 w 1175118"/>
              <a:gd name="connsiteY9" fmla="*/ 196968 h 448366"/>
              <a:gd name="connsiteX10" fmla="*/ 1148097 w 1175118"/>
              <a:gd name="connsiteY10" fmla="*/ 243669 h 448366"/>
              <a:gd name="connsiteX11" fmla="*/ 1158949 w 1175118"/>
              <a:gd name="connsiteY11" fmla="*/ 297266 h 448366"/>
              <a:gd name="connsiteX12" fmla="*/ 1165916 w 1175118"/>
              <a:gd name="connsiteY12" fmla="*/ 344108 h 448366"/>
              <a:gd name="connsiteX13" fmla="*/ 1170491 w 1175118"/>
              <a:gd name="connsiteY13" fmla="*/ 390070 h 448366"/>
              <a:gd name="connsiteX14" fmla="*/ 1174555 w 1175118"/>
              <a:gd name="connsiteY14" fmla="*/ 424493 h 448366"/>
              <a:gd name="connsiteX15" fmla="*/ 1173387 w 1175118"/>
              <a:gd name="connsiteY15" fmla="*/ 448366 h 448366"/>
              <a:gd name="connsiteX16" fmla="*/ 0 w 1175118"/>
              <a:gd name="connsiteY16"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80743 w 1175118"/>
              <a:gd name="connsiteY4" fmla="*/ 80303 h 448366"/>
              <a:gd name="connsiteX5" fmla="*/ 55626 w 1175118"/>
              <a:gd name="connsiteY5" fmla="*/ 12346 h 448366"/>
              <a:gd name="connsiteX6" fmla="*/ 1048603 w 1175118"/>
              <a:gd name="connsiteY6" fmla="*/ 0 h 448366"/>
              <a:gd name="connsiteX7" fmla="*/ 1071393 w 1175118"/>
              <a:gd name="connsiteY7" fmla="*/ 42865 h 448366"/>
              <a:gd name="connsiteX8" fmla="*/ 1096495 w 1175118"/>
              <a:gd name="connsiteY8" fmla="*/ 98274 h 448366"/>
              <a:gd name="connsiteX9" fmla="*/ 1118407 w 1175118"/>
              <a:gd name="connsiteY9" fmla="*/ 148311 h 448366"/>
              <a:gd name="connsiteX10" fmla="*/ 1134295 w 1175118"/>
              <a:gd name="connsiteY10" fmla="*/ 196968 h 448366"/>
              <a:gd name="connsiteX11" fmla="*/ 1148097 w 1175118"/>
              <a:gd name="connsiteY11" fmla="*/ 243669 h 448366"/>
              <a:gd name="connsiteX12" fmla="*/ 1158949 w 1175118"/>
              <a:gd name="connsiteY12" fmla="*/ 297266 h 448366"/>
              <a:gd name="connsiteX13" fmla="*/ 1165916 w 1175118"/>
              <a:gd name="connsiteY13" fmla="*/ 344108 h 448366"/>
              <a:gd name="connsiteX14" fmla="*/ 1170491 w 1175118"/>
              <a:gd name="connsiteY14" fmla="*/ 390070 h 448366"/>
              <a:gd name="connsiteX15" fmla="*/ 1174555 w 1175118"/>
              <a:gd name="connsiteY15" fmla="*/ 424493 h 448366"/>
              <a:gd name="connsiteX16" fmla="*/ 1173387 w 1175118"/>
              <a:gd name="connsiteY16" fmla="*/ 448366 h 448366"/>
              <a:gd name="connsiteX17" fmla="*/ 0 w 1175118"/>
              <a:gd name="connsiteY17"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106050 w 1175118"/>
              <a:gd name="connsiteY4" fmla="*/ 96020 h 448366"/>
              <a:gd name="connsiteX5" fmla="*/ 55626 w 1175118"/>
              <a:gd name="connsiteY5" fmla="*/ 12346 h 448366"/>
              <a:gd name="connsiteX6" fmla="*/ 1048603 w 1175118"/>
              <a:gd name="connsiteY6" fmla="*/ 0 h 448366"/>
              <a:gd name="connsiteX7" fmla="*/ 1071393 w 1175118"/>
              <a:gd name="connsiteY7" fmla="*/ 42865 h 448366"/>
              <a:gd name="connsiteX8" fmla="*/ 1096495 w 1175118"/>
              <a:gd name="connsiteY8" fmla="*/ 98274 h 448366"/>
              <a:gd name="connsiteX9" fmla="*/ 1118407 w 1175118"/>
              <a:gd name="connsiteY9" fmla="*/ 148311 h 448366"/>
              <a:gd name="connsiteX10" fmla="*/ 1134295 w 1175118"/>
              <a:gd name="connsiteY10" fmla="*/ 196968 h 448366"/>
              <a:gd name="connsiteX11" fmla="*/ 1148097 w 1175118"/>
              <a:gd name="connsiteY11" fmla="*/ 243669 h 448366"/>
              <a:gd name="connsiteX12" fmla="*/ 1158949 w 1175118"/>
              <a:gd name="connsiteY12" fmla="*/ 297266 h 448366"/>
              <a:gd name="connsiteX13" fmla="*/ 1165916 w 1175118"/>
              <a:gd name="connsiteY13" fmla="*/ 344108 h 448366"/>
              <a:gd name="connsiteX14" fmla="*/ 1170491 w 1175118"/>
              <a:gd name="connsiteY14" fmla="*/ 390070 h 448366"/>
              <a:gd name="connsiteX15" fmla="*/ 1174555 w 1175118"/>
              <a:gd name="connsiteY15" fmla="*/ 424493 h 448366"/>
              <a:gd name="connsiteX16" fmla="*/ 1173387 w 1175118"/>
              <a:gd name="connsiteY16" fmla="*/ 448366 h 448366"/>
              <a:gd name="connsiteX17" fmla="*/ 0 w 1175118"/>
              <a:gd name="connsiteY17"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106050 w 1175118"/>
              <a:gd name="connsiteY4" fmla="*/ 96020 h 448366"/>
              <a:gd name="connsiteX5" fmla="*/ 79593 w 1175118"/>
              <a:gd name="connsiteY5" fmla="*/ 50615 h 448366"/>
              <a:gd name="connsiteX6" fmla="*/ 55626 w 1175118"/>
              <a:gd name="connsiteY6" fmla="*/ 12346 h 448366"/>
              <a:gd name="connsiteX7" fmla="*/ 1048603 w 1175118"/>
              <a:gd name="connsiteY7" fmla="*/ 0 h 448366"/>
              <a:gd name="connsiteX8" fmla="*/ 1071393 w 1175118"/>
              <a:gd name="connsiteY8" fmla="*/ 42865 h 448366"/>
              <a:gd name="connsiteX9" fmla="*/ 1096495 w 1175118"/>
              <a:gd name="connsiteY9" fmla="*/ 98274 h 448366"/>
              <a:gd name="connsiteX10" fmla="*/ 1118407 w 1175118"/>
              <a:gd name="connsiteY10" fmla="*/ 148311 h 448366"/>
              <a:gd name="connsiteX11" fmla="*/ 1134295 w 1175118"/>
              <a:gd name="connsiteY11" fmla="*/ 196968 h 448366"/>
              <a:gd name="connsiteX12" fmla="*/ 1148097 w 1175118"/>
              <a:gd name="connsiteY12" fmla="*/ 243669 h 448366"/>
              <a:gd name="connsiteX13" fmla="*/ 1158949 w 1175118"/>
              <a:gd name="connsiteY13" fmla="*/ 297266 h 448366"/>
              <a:gd name="connsiteX14" fmla="*/ 1165916 w 1175118"/>
              <a:gd name="connsiteY14" fmla="*/ 344108 h 448366"/>
              <a:gd name="connsiteX15" fmla="*/ 1170491 w 1175118"/>
              <a:gd name="connsiteY15" fmla="*/ 390070 h 448366"/>
              <a:gd name="connsiteX16" fmla="*/ 1174555 w 1175118"/>
              <a:gd name="connsiteY16" fmla="*/ 424493 h 448366"/>
              <a:gd name="connsiteX17" fmla="*/ 1173387 w 1175118"/>
              <a:gd name="connsiteY17" fmla="*/ 448366 h 448366"/>
              <a:gd name="connsiteX18" fmla="*/ 0 w 1175118"/>
              <a:gd name="connsiteY18"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106050 w 1175118"/>
              <a:gd name="connsiteY4" fmla="*/ 96020 h 448366"/>
              <a:gd name="connsiteX5" fmla="*/ 94547 w 1175118"/>
              <a:gd name="connsiteY5" fmla="*/ 50615 h 448366"/>
              <a:gd name="connsiteX6" fmla="*/ 55626 w 1175118"/>
              <a:gd name="connsiteY6" fmla="*/ 12346 h 448366"/>
              <a:gd name="connsiteX7" fmla="*/ 1048603 w 1175118"/>
              <a:gd name="connsiteY7" fmla="*/ 0 h 448366"/>
              <a:gd name="connsiteX8" fmla="*/ 1071393 w 1175118"/>
              <a:gd name="connsiteY8" fmla="*/ 42865 h 448366"/>
              <a:gd name="connsiteX9" fmla="*/ 1096495 w 1175118"/>
              <a:gd name="connsiteY9" fmla="*/ 98274 h 448366"/>
              <a:gd name="connsiteX10" fmla="*/ 1118407 w 1175118"/>
              <a:gd name="connsiteY10" fmla="*/ 148311 h 448366"/>
              <a:gd name="connsiteX11" fmla="*/ 1134295 w 1175118"/>
              <a:gd name="connsiteY11" fmla="*/ 196968 h 448366"/>
              <a:gd name="connsiteX12" fmla="*/ 1148097 w 1175118"/>
              <a:gd name="connsiteY12" fmla="*/ 243669 h 448366"/>
              <a:gd name="connsiteX13" fmla="*/ 1158949 w 1175118"/>
              <a:gd name="connsiteY13" fmla="*/ 297266 h 448366"/>
              <a:gd name="connsiteX14" fmla="*/ 1165916 w 1175118"/>
              <a:gd name="connsiteY14" fmla="*/ 344108 h 448366"/>
              <a:gd name="connsiteX15" fmla="*/ 1170491 w 1175118"/>
              <a:gd name="connsiteY15" fmla="*/ 390070 h 448366"/>
              <a:gd name="connsiteX16" fmla="*/ 1174555 w 1175118"/>
              <a:gd name="connsiteY16" fmla="*/ 424493 h 448366"/>
              <a:gd name="connsiteX17" fmla="*/ 1173387 w 1175118"/>
              <a:gd name="connsiteY17" fmla="*/ 448366 h 448366"/>
              <a:gd name="connsiteX18" fmla="*/ 0 w 1175118"/>
              <a:gd name="connsiteY18"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106050 w 1175118"/>
              <a:gd name="connsiteY4" fmla="*/ 96020 h 448366"/>
              <a:gd name="connsiteX5" fmla="*/ 94547 w 1175118"/>
              <a:gd name="connsiteY5" fmla="*/ 50615 h 448366"/>
              <a:gd name="connsiteX6" fmla="*/ 71730 w 1175118"/>
              <a:gd name="connsiteY6" fmla="*/ 11473 h 448366"/>
              <a:gd name="connsiteX7" fmla="*/ 1048603 w 1175118"/>
              <a:gd name="connsiteY7" fmla="*/ 0 h 448366"/>
              <a:gd name="connsiteX8" fmla="*/ 1071393 w 1175118"/>
              <a:gd name="connsiteY8" fmla="*/ 42865 h 448366"/>
              <a:gd name="connsiteX9" fmla="*/ 1096495 w 1175118"/>
              <a:gd name="connsiteY9" fmla="*/ 98274 h 448366"/>
              <a:gd name="connsiteX10" fmla="*/ 1118407 w 1175118"/>
              <a:gd name="connsiteY10" fmla="*/ 148311 h 448366"/>
              <a:gd name="connsiteX11" fmla="*/ 1134295 w 1175118"/>
              <a:gd name="connsiteY11" fmla="*/ 196968 h 448366"/>
              <a:gd name="connsiteX12" fmla="*/ 1148097 w 1175118"/>
              <a:gd name="connsiteY12" fmla="*/ 243669 h 448366"/>
              <a:gd name="connsiteX13" fmla="*/ 1158949 w 1175118"/>
              <a:gd name="connsiteY13" fmla="*/ 297266 h 448366"/>
              <a:gd name="connsiteX14" fmla="*/ 1165916 w 1175118"/>
              <a:gd name="connsiteY14" fmla="*/ 344108 h 448366"/>
              <a:gd name="connsiteX15" fmla="*/ 1170491 w 1175118"/>
              <a:gd name="connsiteY15" fmla="*/ 390070 h 448366"/>
              <a:gd name="connsiteX16" fmla="*/ 1174555 w 1175118"/>
              <a:gd name="connsiteY16" fmla="*/ 424493 h 448366"/>
              <a:gd name="connsiteX17" fmla="*/ 1173387 w 1175118"/>
              <a:gd name="connsiteY17" fmla="*/ 448366 h 448366"/>
              <a:gd name="connsiteX18" fmla="*/ 0 w 1175118"/>
              <a:gd name="connsiteY18" fmla="*/ 324122 h 448366"/>
              <a:gd name="connsiteX0" fmla="*/ 0 w 1175118"/>
              <a:gd name="connsiteY0" fmla="*/ 324122 h 448366"/>
              <a:gd name="connsiteX1" fmla="*/ 51706 w 1175118"/>
              <a:gd name="connsiteY1" fmla="*/ 273060 h 448366"/>
              <a:gd name="connsiteX2" fmla="*/ 88795 w 1175118"/>
              <a:gd name="connsiteY2" fmla="*/ 204291 h 448366"/>
              <a:gd name="connsiteX3" fmla="*/ 104552 w 1175118"/>
              <a:gd name="connsiteY3" fmla="*/ 140803 h 448366"/>
              <a:gd name="connsiteX4" fmla="*/ 106050 w 1175118"/>
              <a:gd name="connsiteY4" fmla="*/ 96020 h 448366"/>
              <a:gd name="connsiteX5" fmla="*/ 94547 w 1175118"/>
              <a:gd name="connsiteY5" fmla="*/ 50615 h 448366"/>
              <a:gd name="connsiteX6" fmla="*/ 77482 w 1175118"/>
              <a:gd name="connsiteY6" fmla="*/ 11473 h 448366"/>
              <a:gd name="connsiteX7" fmla="*/ 1048603 w 1175118"/>
              <a:gd name="connsiteY7" fmla="*/ 0 h 448366"/>
              <a:gd name="connsiteX8" fmla="*/ 1071393 w 1175118"/>
              <a:gd name="connsiteY8" fmla="*/ 42865 h 448366"/>
              <a:gd name="connsiteX9" fmla="*/ 1096495 w 1175118"/>
              <a:gd name="connsiteY9" fmla="*/ 98274 h 448366"/>
              <a:gd name="connsiteX10" fmla="*/ 1118407 w 1175118"/>
              <a:gd name="connsiteY10" fmla="*/ 148311 h 448366"/>
              <a:gd name="connsiteX11" fmla="*/ 1134295 w 1175118"/>
              <a:gd name="connsiteY11" fmla="*/ 196968 h 448366"/>
              <a:gd name="connsiteX12" fmla="*/ 1148097 w 1175118"/>
              <a:gd name="connsiteY12" fmla="*/ 243669 h 448366"/>
              <a:gd name="connsiteX13" fmla="*/ 1158949 w 1175118"/>
              <a:gd name="connsiteY13" fmla="*/ 297266 h 448366"/>
              <a:gd name="connsiteX14" fmla="*/ 1165916 w 1175118"/>
              <a:gd name="connsiteY14" fmla="*/ 344108 h 448366"/>
              <a:gd name="connsiteX15" fmla="*/ 1170491 w 1175118"/>
              <a:gd name="connsiteY15" fmla="*/ 390070 h 448366"/>
              <a:gd name="connsiteX16" fmla="*/ 1174555 w 1175118"/>
              <a:gd name="connsiteY16" fmla="*/ 424493 h 448366"/>
              <a:gd name="connsiteX17" fmla="*/ 1173387 w 1175118"/>
              <a:gd name="connsiteY17" fmla="*/ 448366 h 448366"/>
              <a:gd name="connsiteX18" fmla="*/ 0 w 1175118"/>
              <a:gd name="connsiteY18" fmla="*/ 324122 h 448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75118" h="448366">
                <a:moveTo>
                  <a:pt x="0" y="324122"/>
                </a:moveTo>
                <a:lnTo>
                  <a:pt x="51706" y="273060"/>
                </a:lnTo>
                <a:lnTo>
                  <a:pt x="88795" y="204291"/>
                </a:lnTo>
                <a:lnTo>
                  <a:pt x="104552" y="140803"/>
                </a:lnTo>
                <a:cubicBezTo>
                  <a:pt x="105051" y="125875"/>
                  <a:pt x="105551" y="110948"/>
                  <a:pt x="106050" y="96020"/>
                </a:cubicBezTo>
                <a:lnTo>
                  <a:pt x="94547" y="50615"/>
                </a:lnTo>
                <a:lnTo>
                  <a:pt x="77482" y="11473"/>
                </a:lnTo>
                <a:lnTo>
                  <a:pt x="1048603" y="0"/>
                </a:lnTo>
                <a:cubicBezTo>
                  <a:pt x="1058519" y="23695"/>
                  <a:pt x="1051127" y="4326"/>
                  <a:pt x="1071393" y="42865"/>
                </a:cubicBezTo>
                <a:lnTo>
                  <a:pt x="1096495" y="98274"/>
                </a:lnTo>
                <a:lnTo>
                  <a:pt x="1118407" y="148311"/>
                </a:lnTo>
                <a:lnTo>
                  <a:pt x="1134295" y="196968"/>
                </a:lnTo>
                <a:lnTo>
                  <a:pt x="1148097" y="243669"/>
                </a:lnTo>
                <a:lnTo>
                  <a:pt x="1158949" y="297266"/>
                </a:lnTo>
                <a:lnTo>
                  <a:pt x="1165916" y="344108"/>
                </a:lnTo>
                <a:lnTo>
                  <a:pt x="1170491" y="390070"/>
                </a:lnTo>
                <a:cubicBezTo>
                  <a:pt x="1169928" y="402126"/>
                  <a:pt x="1175118" y="412437"/>
                  <a:pt x="1174555" y="424493"/>
                </a:cubicBezTo>
                <a:cubicBezTo>
                  <a:pt x="1174166" y="432451"/>
                  <a:pt x="1173776" y="440408"/>
                  <a:pt x="1173387" y="448366"/>
                </a:cubicBezTo>
                <a:lnTo>
                  <a:pt x="0" y="324122"/>
                </a:lnTo>
                <a:close/>
              </a:path>
            </a:pathLst>
          </a:custGeom>
          <a:solidFill>
            <a:srgbClr val="06C245">
              <a:alpha val="50000"/>
            </a:srgbClr>
          </a:solidFill>
          <a:ln w="9525" cap="flat" cmpd="sng" algn="ctr">
            <a:solidFill>
              <a:srgbClr val="06C245"/>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02" name="Rounded Rectangle 1001"/>
          <p:cNvSpPr/>
          <p:nvPr>
            <p:custDataLst>
              <p:tags r:id="rId7"/>
            </p:custDataLst>
          </p:nvPr>
        </p:nvSpPr>
        <p:spPr>
          <a:xfrm>
            <a:off x="6464875" y="1392196"/>
            <a:ext cx="1041400" cy="774700"/>
          </a:xfrm>
          <a:prstGeom prst="roundRect">
            <a:avLst/>
          </a:prstGeom>
          <a:solidFill>
            <a:schemeClr val="tx1"/>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91546" rIns="45720"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smtClean="0">
                <a:solidFill>
                  <a:srgbClr val="FFFFFF"/>
                </a:solidFill>
              </a:rPr>
              <a:t>Community engagement</a:t>
            </a:r>
            <a:endParaRPr lang="en-US" sz="1000" b="1" dirty="0">
              <a:solidFill>
                <a:srgbClr val="FFFFFF"/>
              </a:solidFill>
            </a:endParaRPr>
          </a:p>
        </p:txBody>
      </p:sp>
      <p:sp>
        <p:nvSpPr>
          <p:cNvPr id="1003" name="Freeform 1002"/>
          <p:cNvSpPr/>
          <p:nvPr>
            <p:custDataLst>
              <p:tags r:id="rId8"/>
            </p:custDataLst>
          </p:nvPr>
        </p:nvSpPr>
        <p:spPr bwMode="gray">
          <a:xfrm>
            <a:off x="5190891" y="2143547"/>
            <a:ext cx="2691807" cy="2109066"/>
          </a:xfrm>
          <a:custGeom>
            <a:avLst/>
            <a:gdLst>
              <a:gd name="connsiteX0" fmla="*/ 0 w 923027"/>
              <a:gd name="connsiteY0" fmla="*/ 0 h 1069676"/>
              <a:gd name="connsiteX1" fmla="*/ 923027 w 923027"/>
              <a:gd name="connsiteY1" fmla="*/ 0 h 1069676"/>
              <a:gd name="connsiteX2" fmla="*/ 923027 w 923027"/>
              <a:gd name="connsiteY2" fmla="*/ 1069676 h 1069676"/>
              <a:gd name="connsiteX3" fmla="*/ 0 w 923027"/>
              <a:gd name="connsiteY3" fmla="*/ 1069676 h 1069676"/>
              <a:gd name="connsiteX4" fmla="*/ 0 w 923027"/>
              <a:gd name="connsiteY4" fmla="*/ 0 h 1069676"/>
              <a:gd name="connsiteX0" fmla="*/ 0 w 923027"/>
              <a:gd name="connsiteY0" fmla="*/ 17252 h 1086928"/>
              <a:gd name="connsiteX1" fmla="*/ 483080 w 923027"/>
              <a:gd name="connsiteY1" fmla="*/ 0 h 1086928"/>
              <a:gd name="connsiteX2" fmla="*/ 923027 w 923027"/>
              <a:gd name="connsiteY2" fmla="*/ 17252 h 1086928"/>
              <a:gd name="connsiteX3" fmla="*/ 923027 w 923027"/>
              <a:gd name="connsiteY3" fmla="*/ 1086928 h 1086928"/>
              <a:gd name="connsiteX4" fmla="*/ 0 w 923027"/>
              <a:gd name="connsiteY4" fmla="*/ 1086928 h 1086928"/>
              <a:gd name="connsiteX5" fmla="*/ 0 w 923027"/>
              <a:gd name="connsiteY5" fmla="*/ 17252 h 1086928"/>
              <a:gd name="connsiteX0" fmla="*/ 0 w 923027"/>
              <a:gd name="connsiteY0" fmla="*/ 17252 h 1086928"/>
              <a:gd name="connsiteX1" fmla="*/ 483080 w 923027"/>
              <a:gd name="connsiteY1" fmla="*/ 0 h 1086928"/>
              <a:gd name="connsiteX2" fmla="*/ 741872 w 923027"/>
              <a:gd name="connsiteY2" fmla="*/ 0 h 1086928"/>
              <a:gd name="connsiteX3" fmla="*/ 923027 w 923027"/>
              <a:gd name="connsiteY3" fmla="*/ 17252 h 1086928"/>
              <a:gd name="connsiteX4" fmla="*/ 923027 w 923027"/>
              <a:gd name="connsiteY4" fmla="*/ 1086928 h 1086928"/>
              <a:gd name="connsiteX5" fmla="*/ 0 w 923027"/>
              <a:gd name="connsiteY5" fmla="*/ 1086928 h 1086928"/>
              <a:gd name="connsiteX6" fmla="*/ 0 w 923027"/>
              <a:gd name="connsiteY6"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0 w 923027"/>
              <a:gd name="connsiteY6" fmla="*/ 1086928 h 1086928"/>
              <a:gd name="connsiteX7" fmla="*/ 0 w 923027"/>
              <a:gd name="connsiteY7"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0 w 923027"/>
              <a:gd name="connsiteY7" fmla="*/ 1086928 h 1086928"/>
              <a:gd name="connsiteX8" fmla="*/ 0 w 923027"/>
              <a:gd name="connsiteY8"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500332 w 923027"/>
              <a:gd name="connsiteY7" fmla="*/ 1078301 h 1086928"/>
              <a:gd name="connsiteX8" fmla="*/ 0 w 923027"/>
              <a:gd name="connsiteY8" fmla="*/ 1086928 h 1086928"/>
              <a:gd name="connsiteX9" fmla="*/ 0 w 923027"/>
              <a:gd name="connsiteY9"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707366 w 923027"/>
              <a:gd name="connsiteY6" fmla="*/ 1086928 h 1086928"/>
              <a:gd name="connsiteX7" fmla="*/ 241540 w 923027"/>
              <a:gd name="connsiteY7" fmla="*/ 1078301 h 1086928"/>
              <a:gd name="connsiteX8" fmla="*/ 500332 w 923027"/>
              <a:gd name="connsiteY8" fmla="*/ 1078301 h 1086928"/>
              <a:gd name="connsiteX9" fmla="*/ 0 w 923027"/>
              <a:gd name="connsiteY9" fmla="*/ 1086928 h 1086928"/>
              <a:gd name="connsiteX10" fmla="*/ 0 w 923027"/>
              <a:gd name="connsiteY10" fmla="*/ 17252 h 1086928"/>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241540 w 923027"/>
              <a:gd name="connsiteY7" fmla="*/ 1078301 h 1164566"/>
              <a:gd name="connsiteX8" fmla="*/ 500332 w 923027"/>
              <a:gd name="connsiteY8" fmla="*/ 1078301 h 1164566"/>
              <a:gd name="connsiteX9" fmla="*/ 0 w 923027"/>
              <a:gd name="connsiteY9" fmla="*/ 1086928 h 1164566"/>
              <a:gd name="connsiteX10" fmla="*/ 0 w 923027"/>
              <a:gd name="connsiteY10" fmla="*/ 17252 h 1164566"/>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41540 w 923027"/>
              <a:gd name="connsiteY7" fmla="*/ 1078301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07035 w 923027"/>
              <a:gd name="connsiteY7" fmla="*/ 116456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527075 w 923027"/>
              <a:gd name="connsiteY7" fmla="*/ 106169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527075 w 923027"/>
              <a:gd name="connsiteY7" fmla="*/ 1061695 h 1164566"/>
              <a:gd name="connsiteX8" fmla="*/ 253689 w 923027"/>
              <a:gd name="connsiteY8" fmla="*/ 1161762 h 1164566"/>
              <a:gd name="connsiteX9" fmla="*/ 0 w 923027"/>
              <a:gd name="connsiteY9" fmla="*/ 1086928 h 1164566"/>
              <a:gd name="connsiteX10" fmla="*/ 0 w 923027"/>
              <a:gd name="connsiteY10" fmla="*/ 17252 h 1164566"/>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253689 w 923027"/>
              <a:gd name="connsiteY8" fmla="*/ 116176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7373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6837"/>
              <a:gd name="connsiteY0" fmla="*/ 17252 h 1175995"/>
              <a:gd name="connsiteX1" fmla="*/ 250166 w 926837"/>
              <a:gd name="connsiteY1" fmla="*/ 0 h 1175995"/>
              <a:gd name="connsiteX2" fmla="*/ 483080 w 926837"/>
              <a:gd name="connsiteY2" fmla="*/ 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593282 w 926837"/>
              <a:gd name="connsiteY3" fmla="*/ 381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30480 h 1189223"/>
              <a:gd name="connsiteX1" fmla="*/ 250166 w 926837"/>
              <a:gd name="connsiteY1" fmla="*/ 1322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0 w 926837"/>
              <a:gd name="connsiteY0" fmla="*/ 3048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312420 w 926837"/>
              <a:gd name="connsiteY0" fmla="*/ 2286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12420 w 926837"/>
              <a:gd name="connsiteY0" fmla="*/ 2286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20040 w 926837"/>
              <a:gd name="connsiteY0" fmla="*/ 1143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926837"/>
              <a:gd name="connsiteY0" fmla="*/ 11430 h 1189223"/>
              <a:gd name="connsiteX1" fmla="*/ 402566 w 926837"/>
              <a:gd name="connsiteY1" fmla="*/ 24658 h 1189223"/>
              <a:gd name="connsiteX2" fmla="*/ 49070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1596219"/>
              <a:gd name="connsiteY0" fmla="*/ 11430 h 1189223"/>
              <a:gd name="connsiteX1" fmla="*/ 402566 w 1596219"/>
              <a:gd name="connsiteY1" fmla="*/ 24658 h 1189223"/>
              <a:gd name="connsiteX2" fmla="*/ 490700 w 1596219"/>
              <a:gd name="connsiteY2" fmla="*/ 32278 h 1189223"/>
              <a:gd name="connsiteX3" fmla="*/ 593282 w 1596219"/>
              <a:gd name="connsiteY3" fmla="*/ 17038 h 1189223"/>
              <a:gd name="connsiteX4" fmla="*/ 663947 w 1596219"/>
              <a:gd name="connsiteY4" fmla="*/ 0 h 1189223"/>
              <a:gd name="connsiteX5" fmla="*/ 1596219 w 1596219"/>
              <a:gd name="connsiteY5" fmla="*/ 661601 h 1189223"/>
              <a:gd name="connsiteX6" fmla="*/ 715992 w 1596219"/>
              <a:gd name="connsiteY6" fmla="*/ 1177794 h 1189223"/>
              <a:gd name="connsiteX7" fmla="*/ 473735 w 1596219"/>
              <a:gd name="connsiteY7" fmla="*/ 1189223 h 1189223"/>
              <a:gd name="connsiteX8" fmla="*/ 177489 w 1596219"/>
              <a:gd name="connsiteY8" fmla="*/ 1167370 h 1189223"/>
              <a:gd name="connsiteX9" fmla="*/ 0 w 1596219"/>
              <a:gd name="connsiteY9" fmla="*/ 1100156 h 1189223"/>
              <a:gd name="connsiteX10" fmla="*/ 320040 w 1596219"/>
              <a:gd name="connsiteY10" fmla="*/ 11430 h 1189223"/>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715992 w 1596219"/>
              <a:gd name="connsiteY6" fmla="*/ 1210867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473735 w 1596219"/>
              <a:gd name="connsiteY8" fmla="*/ 1222296 h 1222296"/>
              <a:gd name="connsiteX9" fmla="*/ 177489 w 1596219"/>
              <a:gd name="connsiteY9" fmla="*/ 1200443 h 1222296"/>
              <a:gd name="connsiteX10" fmla="*/ 0 w 1596219"/>
              <a:gd name="connsiteY10" fmla="*/ 1133229 h 1222296"/>
              <a:gd name="connsiteX11" fmla="*/ 320040 w 1596219"/>
              <a:gd name="connsiteY11"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473735 w 1596219"/>
              <a:gd name="connsiteY9" fmla="*/ 1222296 h 1222296"/>
              <a:gd name="connsiteX10" fmla="*/ 177489 w 1596219"/>
              <a:gd name="connsiteY10" fmla="*/ 1200443 h 1222296"/>
              <a:gd name="connsiteX11" fmla="*/ 0 w 1596219"/>
              <a:gd name="connsiteY11" fmla="*/ 1133229 h 1222296"/>
              <a:gd name="connsiteX12" fmla="*/ 320040 w 1596219"/>
              <a:gd name="connsiteY12"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473735 w 1596219"/>
              <a:gd name="connsiteY10" fmla="*/ 1222296 h 1222296"/>
              <a:gd name="connsiteX11" fmla="*/ 177489 w 1596219"/>
              <a:gd name="connsiteY11" fmla="*/ 1200443 h 1222296"/>
              <a:gd name="connsiteX12" fmla="*/ 0 w 1596219"/>
              <a:gd name="connsiteY12" fmla="*/ 1133229 h 1222296"/>
              <a:gd name="connsiteX13" fmla="*/ 320040 w 1596219"/>
              <a:gd name="connsiteY13"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629774 w 1596219"/>
              <a:gd name="connsiteY10" fmla="*/ 1168177 h 1222296"/>
              <a:gd name="connsiteX11" fmla="*/ 473735 w 1596219"/>
              <a:gd name="connsiteY11" fmla="*/ 1222296 h 1222296"/>
              <a:gd name="connsiteX12" fmla="*/ 177489 w 1596219"/>
              <a:gd name="connsiteY12" fmla="*/ 1200443 h 1222296"/>
              <a:gd name="connsiteX13" fmla="*/ 0 w 1596219"/>
              <a:gd name="connsiteY13" fmla="*/ 1133229 h 1222296"/>
              <a:gd name="connsiteX14" fmla="*/ 320040 w 1596219"/>
              <a:gd name="connsiteY14"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314999 w 1596219"/>
              <a:gd name="connsiteY7" fmla="*/ 885554 h 1222296"/>
              <a:gd name="connsiteX8" fmla="*/ 1196174 w 1596219"/>
              <a:gd name="connsiteY8" fmla="*/ 933660 h 1222296"/>
              <a:gd name="connsiteX9" fmla="*/ 1045662 w 1596219"/>
              <a:gd name="connsiteY9" fmla="*/ 996799 h 1222296"/>
              <a:gd name="connsiteX10" fmla="*/ 827815 w 1596219"/>
              <a:gd name="connsiteY10" fmla="*/ 1086998 h 1222296"/>
              <a:gd name="connsiteX11" fmla="*/ 629774 w 1596219"/>
              <a:gd name="connsiteY11" fmla="*/ 1168177 h 1222296"/>
              <a:gd name="connsiteX12" fmla="*/ 473735 w 1596219"/>
              <a:gd name="connsiteY12" fmla="*/ 1222296 h 1222296"/>
              <a:gd name="connsiteX13" fmla="*/ 177489 w 1596219"/>
              <a:gd name="connsiteY13" fmla="*/ 1200443 h 1222296"/>
              <a:gd name="connsiteX14" fmla="*/ 0 w 1596219"/>
              <a:gd name="connsiteY14" fmla="*/ 1133229 h 1222296"/>
              <a:gd name="connsiteX15" fmla="*/ 320040 w 1596219"/>
              <a:gd name="connsiteY15"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532845 w 1596219"/>
              <a:gd name="connsiteY6" fmla="*/ 771302 h 1222296"/>
              <a:gd name="connsiteX7" fmla="*/ 1488356 w 1596219"/>
              <a:gd name="connsiteY7" fmla="*/ 820005 h 1222296"/>
              <a:gd name="connsiteX8" fmla="*/ 1314999 w 1596219"/>
              <a:gd name="connsiteY8" fmla="*/ 885554 h 1222296"/>
              <a:gd name="connsiteX9" fmla="*/ 1196174 w 1596219"/>
              <a:gd name="connsiteY9" fmla="*/ 933660 h 1222296"/>
              <a:gd name="connsiteX10" fmla="*/ 1045662 w 1596219"/>
              <a:gd name="connsiteY10" fmla="*/ 996799 h 1222296"/>
              <a:gd name="connsiteX11" fmla="*/ 827815 w 1596219"/>
              <a:gd name="connsiteY11" fmla="*/ 1086998 h 1222296"/>
              <a:gd name="connsiteX12" fmla="*/ 629774 w 1596219"/>
              <a:gd name="connsiteY12" fmla="*/ 1168177 h 1222296"/>
              <a:gd name="connsiteX13" fmla="*/ 473735 w 1596219"/>
              <a:gd name="connsiteY13" fmla="*/ 1222296 h 1222296"/>
              <a:gd name="connsiteX14" fmla="*/ 177489 w 1596219"/>
              <a:gd name="connsiteY14" fmla="*/ 1200443 h 1222296"/>
              <a:gd name="connsiteX15" fmla="*/ 0 w 1596219"/>
              <a:gd name="connsiteY15" fmla="*/ 1133229 h 1222296"/>
              <a:gd name="connsiteX16" fmla="*/ 320040 w 1596219"/>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88356 w 1607172"/>
              <a:gd name="connsiteY7" fmla="*/ 820005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715569 w 1607172"/>
              <a:gd name="connsiteY12" fmla="*/ 1164020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00443"/>
              <a:gd name="connsiteX1" fmla="*/ 402566 w 1607172"/>
              <a:gd name="connsiteY1" fmla="*/ 57731 h 1200443"/>
              <a:gd name="connsiteX2" fmla="*/ 490700 w 1607172"/>
              <a:gd name="connsiteY2" fmla="*/ 65351 h 1200443"/>
              <a:gd name="connsiteX3" fmla="*/ 593282 w 1607172"/>
              <a:gd name="connsiteY3" fmla="*/ 50111 h 1200443"/>
              <a:gd name="connsiteX4" fmla="*/ 632260 w 1607172"/>
              <a:gd name="connsiteY4" fmla="*/ 0 h 1200443"/>
              <a:gd name="connsiteX5" fmla="*/ 1607172 w 1607172"/>
              <a:gd name="connsiteY5" fmla="*/ 691903 h 1200443"/>
              <a:gd name="connsiteX6" fmla="*/ 1532845 w 1607172"/>
              <a:gd name="connsiteY6" fmla="*/ 771302 h 1200443"/>
              <a:gd name="connsiteX7" fmla="*/ 1431768 w 1607172"/>
              <a:gd name="connsiteY7" fmla="*/ 862961 h 1200443"/>
              <a:gd name="connsiteX8" fmla="*/ 1327777 w 1607172"/>
              <a:gd name="connsiteY8" fmla="*/ 931281 h 1200443"/>
              <a:gd name="connsiteX9" fmla="*/ 1185222 w 1607172"/>
              <a:gd name="connsiteY9" fmla="*/ 1005715 h 1200443"/>
              <a:gd name="connsiteX10" fmla="*/ 1032884 w 1607172"/>
              <a:gd name="connsiteY10" fmla="*/ 1078554 h 1200443"/>
              <a:gd name="connsiteX11" fmla="*/ 895357 w 1607172"/>
              <a:gd name="connsiteY11" fmla="*/ 1121639 h 1200443"/>
              <a:gd name="connsiteX12" fmla="*/ 715569 w 1607172"/>
              <a:gd name="connsiteY12" fmla="*/ 1164020 h 1200443"/>
              <a:gd name="connsiteX13" fmla="*/ 491990 w 1607172"/>
              <a:gd name="connsiteY13" fmla="*/ 1186269 h 1200443"/>
              <a:gd name="connsiteX14" fmla="*/ 177489 w 1607172"/>
              <a:gd name="connsiteY14" fmla="*/ 1200443 h 1200443"/>
              <a:gd name="connsiteX15" fmla="*/ 0 w 1607172"/>
              <a:gd name="connsiteY15" fmla="*/ 1133229 h 1200443"/>
              <a:gd name="connsiteX16" fmla="*/ 320040 w 1607172"/>
              <a:gd name="connsiteY16" fmla="*/ 44503 h 1200443"/>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0 w 1607172"/>
              <a:gd name="connsiteY15" fmla="*/ 1133229 h 1186269"/>
              <a:gd name="connsiteX16" fmla="*/ 320040 w 1607172"/>
              <a:gd name="connsiteY16"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54128 w 1607172"/>
              <a:gd name="connsiteY15" fmla="*/ 1157249 h 1186269"/>
              <a:gd name="connsiteX16" fmla="*/ 0 w 1607172"/>
              <a:gd name="connsiteY16" fmla="*/ 1133229 h 1186269"/>
              <a:gd name="connsiteX17" fmla="*/ 320040 w 1607172"/>
              <a:gd name="connsiteY17"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43175 w 1607172"/>
              <a:gd name="connsiteY15" fmla="*/ 1173877 h 1186269"/>
              <a:gd name="connsiteX16" fmla="*/ 0 w 1607172"/>
              <a:gd name="connsiteY16" fmla="*/ 1133229 h 1186269"/>
              <a:gd name="connsiteX17" fmla="*/ 320040 w 1607172"/>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0 w 1702094"/>
              <a:gd name="connsiteY16" fmla="*/ 1126301 h 1186269"/>
              <a:gd name="connsiteX17" fmla="*/ 414962 w 1702094"/>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2492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36189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48044 w 1702094"/>
              <a:gd name="connsiteY3" fmla="*/ 16855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55588 h 1205668"/>
              <a:gd name="connsiteX1" fmla="*/ 490187 w 1702094"/>
              <a:gd name="connsiteY1" fmla="*/ 61888 h 1205668"/>
              <a:gd name="connsiteX2" fmla="*/ 581971 w 1702094"/>
              <a:gd name="connsiteY2" fmla="*/ 55651 h 1205668"/>
              <a:gd name="connsiteX3" fmla="*/ 648044 w 1702094"/>
              <a:gd name="connsiteY3" fmla="*/ 36254 h 1205668"/>
              <a:gd name="connsiteX4" fmla="*/ 727182 w 1702094"/>
              <a:gd name="connsiteY4" fmla="*/ 0 h 1205668"/>
              <a:gd name="connsiteX5" fmla="*/ 1702094 w 1702094"/>
              <a:gd name="connsiteY5" fmla="*/ 711302 h 1205668"/>
              <a:gd name="connsiteX6" fmla="*/ 1627767 w 1702094"/>
              <a:gd name="connsiteY6" fmla="*/ 790701 h 1205668"/>
              <a:gd name="connsiteX7" fmla="*/ 1526690 w 1702094"/>
              <a:gd name="connsiteY7" fmla="*/ 882360 h 1205668"/>
              <a:gd name="connsiteX8" fmla="*/ 1422699 w 1702094"/>
              <a:gd name="connsiteY8" fmla="*/ 950680 h 1205668"/>
              <a:gd name="connsiteX9" fmla="*/ 1280144 w 1702094"/>
              <a:gd name="connsiteY9" fmla="*/ 1025114 h 1205668"/>
              <a:gd name="connsiteX10" fmla="*/ 1127806 w 1702094"/>
              <a:gd name="connsiteY10" fmla="*/ 1097953 h 1205668"/>
              <a:gd name="connsiteX11" fmla="*/ 990279 w 1702094"/>
              <a:gd name="connsiteY11" fmla="*/ 1141038 h 1205668"/>
              <a:gd name="connsiteX12" fmla="*/ 810491 w 1702094"/>
              <a:gd name="connsiteY12" fmla="*/ 1183419 h 1205668"/>
              <a:gd name="connsiteX13" fmla="*/ 586912 w 1702094"/>
              <a:gd name="connsiteY13" fmla="*/ 1205668 h 1205668"/>
              <a:gd name="connsiteX14" fmla="*/ 392889 w 1702094"/>
              <a:gd name="connsiteY14" fmla="*/ 1204600 h 1205668"/>
              <a:gd name="connsiteX15" fmla="*/ 238097 w 1702094"/>
              <a:gd name="connsiteY15" fmla="*/ 1193276 h 1205668"/>
              <a:gd name="connsiteX16" fmla="*/ 101191 w 1702094"/>
              <a:gd name="connsiteY16" fmla="*/ 1171105 h 1205668"/>
              <a:gd name="connsiteX17" fmla="*/ 0 w 1702094"/>
              <a:gd name="connsiteY17" fmla="*/ 1145700 h 1205668"/>
              <a:gd name="connsiteX18" fmla="*/ 414962 w 1702094"/>
              <a:gd name="connsiteY18" fmla="*/ 55588 h 1205668"/>
              <a:gd name="connsiteX0" fmla="*/ 414962 w 1702094"/>
              <a:gd name="connsiteY0" fmla="*/ 51431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414962 w 1702094"/>
              <a:gd name="connsiteY18" fmla="*/ 51431 h 1201511"/>
              <a:gd name="connsiteX0" fmla="*/ 53527 w 1702094"/>
              <a:gd name="connsiteY0" fmla="*/ 226025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53527 w 1702094"/>
              <a:gd name="connsiteY18" fmla="*/ 226025 h 1201511"/>
              <a:gd name="connsiteX0" fmla="*/ 53527 w 1702094"/>
              <a:gd name="connsiteY0" fmla="*/ 226025 h 1201511"/>
              <a:gd name="connsiteX1" fmla="*/ 77639 w 1702094"/>
              <a:gd name="connsiteY1" fmla="*/ 215697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53527 w 1702094"/>
              <a:gd name="connsiteY18" fmla="*/ 226025 h 1201511"/>
              <a:gd name="connsiteX0" fmla="*/ 53527 w 1702094"/>
              <a:gd name="connsiteY0" fmla="*/ 226025 h 1201511"/>
              <a:gd name="connsiteX1" fmla="*/ 77639 w 1702094"/>
              <a:gd name="connsiteY1" fmla="*/ 215697 h 1201511"/>
              <a:gd name="connsiteX2" fmla="*/ 648044 w 1702094"/>
              <a:gd name="connsiteY2" fmla="*/ 32097 h 1201511"/>
              <a:gd name="connsiteX3" fmla="*/ 705277 w 1702094"/>
              <a:gd name="connsiteY3" fmla="*/ 0 h 1201511"/>
              <a:gd name="connsiteX4" fmla="*/ 1702094 w 1702094"/>
              <a:gd name="connsiteY4" fmla="*/ 707145 h 1201511"/>
              <a:gd name="connsiteX5" fmla="*/ 1627767 w 1702094"/>
              <a:gd name="connsiteY5" fmla="*/ 786544 h 1201511"/>
              <a:gd name="connsiteX6" fmla="*/ 1526690 w 1702094"/>
              <a:gd name="connsiteY6" fmla="*/ 878203 h 1201511"/>
              <a:gd name="connsiteX7" fmla="*/ 1422699 w 1702094"/>
              <a:gd name="connsiteY7" fmla="*/ 946523 h 1201511"/>
              <a:gd name="connsiteX8" fmla="*/ 1280144 w 1702094"/>
              <a:gd name="connsiteY8" fmla="*/ 1020957 h 1201511"/>
              <a:gd name="connsiteX9" fmla="*/ 1127806 w 1702094"/>
              <a:gd name="connsiteY9" fmla="*/ 1093796 h 1201511"/>
              <a:gd name="connsiteX10" fmla="*/ 990279 w 1702094"/>
              <a:gd name="connsiteY10" fmla="*/ 1136881 h 1201511"/>
              <a:gd name="connsiteX11" fmla="*/ 810491 w 1702094"/>
              <a:gd name="connsiteY11" fmla="*/ 1179262 h 1201511"/>
              <a:gd name="connsiteX12" fmla="*/ 586912 w 1702094"/>
              <a:gd name="connsiteY12" fmla="*/ 1201511 h 1201511"/>
              <a:gd name="connsiteX13" fmla="*/ 392889 w 1702094"/>
              <a:gd name="connsiteY13" fmla="*/ 1200443 h 1201511"/>
              <a:gd name="connsiteX14" fmla="*/ 238097 w 1702094"/>
              <a:gd name="connsiteY14" fmla="*/ 1189119 h 1201511"/>
              <a:gd name="connsiteX15" fmla="*/ 101191 w 1702094"/>
              <a:gd name="connsiteY15" fmla="*/ 1166948 h 1201511"/>
              <a:gd name="connsiteX16" fmla="*/ 0 w 1702094"/>
              <a:gd name="connsiteY16" fmla="*/ 1141543 h 1201511"/>
              <a:gd name="connsiteX17" fmla="*/ 53527 w 1702094"/>
              <a:gd name="connsiteY17" fmla="*/ 226025 h 1201511"/>
              <a:gd name="connsiteX0" fmla="*/ 53527 w 1702094"/>
              <a:gd name="connsiteY0" fmla="*/ 226025 h 1201511"/>
              <a:gd name="connsiteX1" fmla="*/ 77639 w 1702094"/>
              <a:gd name="connsiteY1" fmla="*/ 215697 h 1201511"/>
              <a:gd name="connsiteX2" fmla="*/ 89463 w 1702094"/>
              <a:gd name="connsiteY2" fmla="*/ 201148 h 1201511"/>
              <a:gd name="connsiteX3" fmla="*/ 705277 w 1702094"/>
              <a:gd name="connsiteY3" fmla="*/ 0 h 1201511"/>
              <a:gd name="connsiteX4" fmla="*/ 1702094 w 1702094"/>
              <a:gd name="connsiteY4" fmla="*/ 707145 h 1201511"/>
              <a:gd name="connsiteX5" fmla="*/ 1627767 w 1702094"/>
              <a:gd name="connsiteY5" fmla="*/ 786544 h 1201511"/>
              <a:gd name="connsiteX6" fmla="*/ 1526690 w 1702094"/>
              <a:gd name="connsiteY6" fmla="*/ 878203 h 1201511"/>
              <a:gd name="connsiteX7" fmla="*/ 1422699 w 1702094"/>
              <a:gd name="connsiteY7" fmla="*/ 946523 h 1201511"/>
              <a:gd name="connsiteX8" fmla="*/ 1280144 w 1702094"/>
              <a:gd name="connsiteY8" fmla="*/ 1020957 h 1201511"/>
              <a:gd name="connsiteX9" fmla="*/ 1127806 w 1702094"/>
              <a:gd name="connsiteY9" fmla="*/ 1093796 h 1201511"/>
              <a:gd name="connsiteX10" fmla="*/ 990279 w 1702094"/>
              <a:gd name="connsiteY10" fmla="*/ 1136881 h 1201511"/>
              <a:gd name="connsiteX11" fmla="*/ 810491 w 1702094"/>
              <a:gd name="connsiteY11" fmla="*/ 1179262 h 1201511"/>
              <a:gd name="connsiteX12" fmla="*/ 586912 w 1702094"/>
              <a:gd name="connsiteY12" fmla="*/ 1201511 h 1201511"/>
              <a:gd name="connsiteX13" fmla="*/ 392889 w 1702094"/>
              <a:gd name="connsiteY13" fmla="*/ 1200443 h 1201511"/>
              <a:gd name="connsiteX14" fmla="*/ 238097 w 1702094"/>
              <a:gd name="connsiteY14" fmla="*/ 1189119 h 1201511"/>
              <a:gd name="connsiteX15" fmla="*/ 101191 w 1702094"/>
              <a:gd name="connsiteY15" fmla="*/ 1166948 h 1201511"/>
              <a:gd name="connsiteX16" fmla="*/ 0 w 1702094"/>
              <a:gd name="connsiteY16" fmla="*/ 1141543 h 1201511"/>
              <a:gd name="connsiteX17" fmla="*/ 53527 w 1702094"/>
              <a:gd name="connsiteY17" fmla="*/ 226025 h 1201511"/>
              <a:gd name="connsiteX0" fmla="*/ 53527 w 1702094"/>
              <a:gd name="connsiteY0" fmla="*/ 48660 h 1024146"/>
              <a:gd name="connsiteX1" fmla="*/ 77639 w 1702094"/>
              <a:gd name="connsiteY1" fmla="*/ 38332 h 1024146"/>
              <a:gd name="connsiteX2" fmla="*/ 89463 w 1702094"/>
              <a:gd name="connsiteY2" fmla="*/ 23783 h 1024146"/>
              <a:gd name="connsiteX3" fmla="*/ 135742 w 1702094"/>
              <a:gd name="connsiteY3" fmla="*/ 0 h 1024146"/>
              <a:gd name="connsiteX4" fmla="*/ 1702094 w 1702094"/>
              <a:gd name="connsiteY4" fmla="*/ 529780 h 1024146"/>
              <a:gd name="connsiteX5" fmla="*/ 1627767 w 1702094"/>
              <a:gd name="connsiteY5" fmla="*/ 609179 h 1024146"/>
              <a:gd name="connsiteX6" fmla="*/ 1526690 w 1702094"/>
              <a:gd name="connsiteY6" fmla="*/ 700838 h 1024146"/>
              <a:gd name="connsiteX7" fmla="*/ 1422699 w 1702094"/>
              <a:gd name="connsiteY7" fmla="*/ 769158 h 1024146"/>
              <a:gd name="connsiteX8" fmla="*/ 1280144 w 1702094"/>
              <a:gd name="connsiteY8" fmla="*/ 843592 h 1024146"/>
              <a:gd name="connsiteX9" fmla="*/ 1127806 w 1702094"/>
              <a:gd name="connsiteY9" fmla="*/ 916431 h 1024146"/>
              <a:gd name="connsiteX10" fmla="*/ 990279 w 1702094"/>
              <a:gd name="connsiteY10" fmla="*/ 959516 h 1024146"/>
              <a:gd name="connsiteX11" fmla="*/ 810491 w 1702094"/>
              <a:gd name="connsiteY11" fmla="*/ 1001897 h 1024146"/>
              <a:gd name="connsiteX12" fmla="*/ 586912 w 1702094"/>
              <a:gd name="connsiteY12" fmla="*/ 1024146 h 1024146"/>
              <a:gd name="connsiteX13" fmla="*/ 392889 w 1702094"/>
              <a:gd name="connsiteY13" fmla="*/ 1023078 h 1024146"/>
              <a:gd name="connsiteX14" fmla="*/ 238097 w 1702094"/>
              <a:gd name="connsiteY14" fmla="*/ 1011754 h 1024146"/>
              <a:gd name="connsiteX15" fmla="*/ 101191 w 1702094"/>
              <a:gd name="connsiteY15" fmla="*/ 989583 h 1024146"/>
              <a:gd name="connsiteX16" fmla="*/ 0 w 1702094"/>
              <a:gd name="connsiteY16" fmla="*/ 964178 h 1024146"/>
              <a:gd name="connsiteX17" fmla="*/ 53527 w 1702094"/>
              <a:gd name="connsiteY17" fmla="*/ 48660 h 1024146"/>
              <a:gd name="connsiteX0" fmla="*/ 53527 w 1627767"/>
              <a:gd name="connsiteY0" fmla="*/ 48660 h 1024146"/>
              <a:gd name="connsiteX1" fmla="*/ 77639 w 1627767"/>
              <a:gd name="connsiteY1" fmla="*/ 38332 h 1024146"/>
              <a:gd name="connsiteX2" fmla="*/ 89463 w 1627767"/>
              <a:gd name="connsiteY2" fmla="*/ 23783 h 1024146"/>
              <a:gd name="connsiteX3" fmla="*/ 135742 w 1627767"/>
              <a:gd name="connsiteY3" fmla="*/ 0 h 1024146"/>
              <a:gd name="connsiteX4" fmla="*/ 1282245 w 1627767"/>
              <a:gd name="connsiteY4" fmla="*/ 130709 h 1024146"/>
              <a:gd name="connsiteX5" fmla="*/ 1627767 w 1627767"/>
              <a:gd name="connsiteY5" fmla="*/ 609179 h 1024146"/>
              <a:gd name="connsiteX6" fmla="*/ 1526690 w 1627767"/>
              <a:gd name="connsiteY6" fmla="*/ 700838 h 1024146"/>
              <a:gd name="connsiteX7" fmla="*/ 1422699 w 1627767"/>
              <a:gd name="connsiteY7" fmla="*/ 769158 h 1024146"/>
              <a:gd name="connsiteX8" fmla="*/ 1280144 w 1627767"/>
              <a:gd name="connsiteY8" fmla="*/ 843592 h 1024146"/>
              <a:gd name="connsiteX9" fmla="*/ 1127806 w 1627767"/>
              <a:gd name="connsiteY9" fmla="*/ 916431 h 1024146"/>
              <a:gd name="connsiteX10" fmla="*/ 990279 w 1627767"/>
              <a:gd name="connsiteY10" fmla="*/ 959516 h 1024146"/>
              <a:gd name="connsiteX11" fmla="*/ 810491 w 1627767"/>
              <a:gd name="connsiteY11" fmla="*/ 1001897 h 1024146"/>
              <a:gd name="connsiteX12" fmla="*/ 586912 w 1627767"/>
              <a:gd name="connsiteY12" fmla="*/ 1024146 h 1024146"/>
              <a:gd name="connsiteX13" fmla="*/ 392889 w 1627767"/>
              <a:gd name="connsiteY13" fmla="*/ 1023078 h 1024146"/>
              <a:gd name="connsiteX14" fmla="*/ 238097 w 1627767"/>
              <a:gd name="connsiteY14" fmla="*/ 1011754 h 1024146"/>
              <a:gd name="connsiteX15" fmla="*/ 101191 w 1627767"/>
              <a:gd name="connsiteY15" fmla="*/ 989583 h 1024146"/>
              <a:gd name="connsiteX16" fmla="*/ 0 w 1627767"/>
              <a:gd name="connsiteY16" fmla="*/ 964178 h 1024146"/>
              <a:gd name="connsiteX17" fmla="*/ 53527 w 1627767"/>
              <a:gd name="connsiteY17" fmla="*/ 48660 h 1024146"/>
              <a:gd name="connsiteX0" fmla="*/ 53527 w 1526690"/>
              <a:gd name="connsiteY0" fmla="*/ 48660 h 1024146"/>
              <a:gd name="connsiteX1" fmla="*/ 77639 w 1526690"/>
              <a:gd name="connsiteY1" fmla="*/ 38332 h 1024146"/>
              <a:gd name="connsiteX2" fmla="*/ 89463 w 1526690"/>
              <a:gd name="connsiteY2" fmla="*/ 23783 h 1024146"/>
              <a:gd name="connsiteX3" fmla="*/ 135742 w 1526690"/>
              <a:gd name="connsiteY3" fmla="*/ 0 h 1024146"/>
              <a:gd name="connsiteX4" fmla="*/ 1282245 w 1526690"/>
              <a:gd name="connsiteY4" fmla="*/ 130709 h 1024146"/>
              <a:gd name="connsiteX5" fmla="*/ 1280935 w 1526690"/>
              <a:gd name="connsiteY5" fmla="*/ 201794 h 1024146"/>
              <a:gd name="connsiteX6" fmla="*/ 1526690 w 1526690"/>
              <a:gd name="connsiteY6" fmla="*/ 700838 h 1024146"/>
              <a:gd name="connsiteX7" fmla="*/ 1422699 w 1526690"/>
              <a:gd name="connsiteY7" fmla="*/ 769158 h 1024146"/>
              <a:gd name="connsiteX8" fmla="*/ 1280144 w 1526690"/>
              <a:gd name="connsiteY8" fmla="*/ 843592 h 1024146"/>
              <a:gd name="connsiteX9" fmla="*/ 1127806 w 1526690"/>
              <a:gd name="connsiteY9" fmla="*/ 916431 h 1024146"/>
              <a:gd name="connsiteX10" fmla="*/ 990279 w 1526690"/>
              <a:gd name="connsiteY10" fmla="*/ 959516 h 1024146"/>
              <a:gd name="connsiteX11" fmla="*/ 810491 w 1526690"/>
              <a:gd name="connsiteY11" fmla="*/ 1001897 h 1024146"/>
              <a:gd name="connsiteX12" fmla="*/ 586912 w 1526690"/>
              <a:gd name="connsiteY12" fmla="*/ 1024146 h 1024146"/>
              <a:gd name="connsiteX13" fmla="*/ 392889 w 1526690"/>
              <a:gd name="connsiteY13" fmla="*/ 1023078 h 1024146"/>
              <a:gd name="connsiteX14" fmla="*/ 238097 w 1526690"/>
              <a:gd name="connsiteY14" fmla="*/ 1011754 h 1024146"/>
              <a:gd name="connsiteX15" fmla="*/ 101191 w 1526690"/>
              <a:gd name="connsiteY15" fmla="*/ 989583 h 1024146"/>
              <a:gd name="connsiteX16" fmla="*/ 0 w 1526690"/>
              <a:gd name="connsiteY16" fmla="*/ 964178 h 1024146"/>
              <a:gd name="connsiteX17" fmla="*/ 53527 w 1526690"/>
              <a:gd name="connsiteY17" fmla="*/ 48660 h 1024146"/>
              <a:gd name="connsiteX0" fmla="*/ 53527 w 1422699"/>
              <a:gd name="connsiteY0" fmla="*/ 48660 h 1024146"/>
              <a:gd name="connsiteX1" fmla="*/ 77639 w 1422699"/>
              <a:gd name="connsiteY1" fmla="*/ 38332 h 1024146"/>
              <a:gd name="connsiteX2" fmla="*/ 89463 w 1422699"/>
              <a:gd name="connsiteY2" fmla="*/ 23783 h 1024146"/>
              <a:gd name="connsiteX3" fmla="*/ 135742 w 1422699"/>
              <a:gd name="connsiteY3" fmla="*/ 0 h 1024146"/>
              <a:gd name="connsiteX4" fmla="*/ 1282245 w 1422699"/>
              <a:gd name="connsiteY4" fmla="*/ 130709 h 1024146"/>
              <a:gd name="connsiteX5" fmla="*/ 1280935 w 1422699"/>
              <a:gd name="connsiteY5" fmla="*/ 201794 h 1024146"/>
              <a:gd name="connsiteX6" fmla="*/ 1278431 w 1422699"/>
              <a:gd name="connsiteY6" fmla="*/ 251883 h 1024146"/>
              <a:gd name="connsiteX7" fmla="*/ 1422699 w 1422699"/>
              <a:gd name="connsiteY7" fmla="*/ 769158 h 1024146"/>
              <a:gd name="connsiteX8" fmla="*/ 1280144 w 1422699"/>
              <a:gd name="connsiteY8" fmla="*/ 843592 h 1024146"/>
              <a:gd name="connsiteX9" fmla="*/ 1127806 w 1422699"/>
              <a:gd name="connsiteY9" fmla="*/ 916431 h 1024146"/>
              <a:gd name="connsiteX10" fmla="*/ 990279 w 1422699"/>
              <a:gd name="connsiteY10" fmla="*/ 959516 h 1024146"/>
              <a:gd name="connsiteX11" fmla="*/ 810491 w 1422699"/>
              <a:gd name="connsiteY11" fmla="*/ 1001897 h 1024146"/>
              <a:gd name="connsiteX12" fmla="*/ 586912 w 1422699"/>
              <a:gd name="connsiteY12" fmla="*/ 1024146 h 1024146"/>
              <a:gd name="connsiteX13" fmla="*/ 392889 w 1422699"/>
              <a:gd name="connsiteY13" fmla="*/ 1023078 h 1024146"/>
              <a:gd name="connsiteX14" fmla="*/ 238097 w 1422699"/>
              <a:gd name="connsiteY14" fmla="*/ 1011754 h 1024146"/>
              <a:gd name="connsiteX15" fmla="*/ 101191 w 1422699"/>
              <a:gd name="connsiteY15" fmla="*/ 989583 h 1024146"/>
              <a:gd name="connsiteX16" fmla="*/ 0 w 1422699"/>
              <a:gd name="connsiteY16" fmla="*/ 964178 h 1024146"/>
              <a:gd name="connsiteX17" fmla="*/ 53527 w 1422699"/>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80144 w 1282245"/>
              <a:gd name="connsiteY8" fmla="*/ 843592 h 1024146"/>
              <a:gd name="connsiteX9" fmla="*/ 1127806 w 1282245"/>
              <a:gd name="connsiteY9" fmla="*/ 916431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127806 w 1282245"/>
              <a:gd name="connsiteY9" fmla="*/ 916431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990279 w 1282245"/>
              <a:gd name="connsiteY10" fmla="*/ 959516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1227585 w 1282245"/>
              <a:gd name="connsiteY10" fmla="*/ 477305 h 1024146"/>
              <a:gd name="connsiteX11" fmla="*/ 810491 w 1282245"/>
              <a:gd name="connsiteY11" fmla="*/ 1001897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4146"/>
              <a:gd name="connsiteX1" fmla="*/ 77639 w 1282245"/>
              <a:gd name="connsiteY1" fmla="*/ 38332 h 1024146"/>
              <a:gd name="connsiteX2" fmla="*/ 89463 w 1282245"/>
              <a:gd name="connsiteY2" fmla="*/ 23783 h 1024146"/>
              <a:gd name="connsiteX3" fmla="*/ 135742 w 1282245"/>
              <a:gd name="connsiteY3" fmla="*/ 0 h 1024146"/>
              <a:gd name="connsiteX4" fmla="*/ 1282245 w 1282245"/>
              <a:gd name="connsiteY4" fmla="*/ 130709 h 1024146"/>
              <a:gd name="connsiteX5" fmla="*/ 1280935 w 1282245"/>
              <a:gd name="connsiteY5" fmla="*/ 201794 h 1024146"/>
              <a:gd name="connsiteX6" fmla="*/ 1278431 w 1282245"/>
              <a:gd name="connsiteY6" fmla="*/ 251883 h 1024146"/>
              <a:gd name="connsiteX7" fmla="*/ 1258410 w 1282245"/>
              <a:gd name="connsiteY7" fmla="*/ 314660 h 1024146"/>
              <a:gd name="connsiteX8" fmla="*/ 1254587 w 1282245"/>
              <a:gd name="connsiteY8" fmla="*/ 380780 h 1024146"/>
              <a:gd name="connsiteX9" fmla="*/ 1237332 w 1282245"/>
              <a:gd name="connsiteY9" fmla="*/ 431449 h 1024146"/>
              <a:gd name="connsiteX10" fmla="*/ 1227585 w 1282245"/>
              <a:gd name="connsiteY10" fmla="*/ 477305 h 1024146"/>
              <a:gd name="connsiteX11" fmla="*/ 1197482 w 1282245"/>
              <a:gd name="connsiteY11" fmla="*/ 544628 h 1024146"/>
              <a:gd name="connsiteX12" fmla="*/ 586912 w 1282245"/>
              <a:gd name="connsiteY12" fmla="*/ 1024146 h 1024146"/>
              <a:gd name="connsiteX13" fmla="*/ 392889 w 1282245"/>
              <a:gd name="connsiteY13" fmla="*/ 1023078 h 1024146"/>
              <a:gd name="connsiteX14" fmla="*/ 238097 w 1282245"/>
              <a:gd name="connsiteY14" fmla="*/ 1011754 h 1024146"/>
              <a:gd name="connsiteX15" fmla="*/ 101191 w 1282245"/>
              <a:gd name="connsiteY15" fmla="*/ 989583 h 1024146"/>
              <a:gd name="connsiteX16" fmla="*/ 0 w 1282245"/>
              <a:gd name="connsiteY16" fmla="*/ 964178 h 1024146"/>
              <a:gd name="connsiteX17" fmla="*/ 53527 w 1282245"/>
              <a:gd name="connsiteY17" fmla="*/ 48660 h 1024146"/>
              <a:gd name="connsiteX0" fmla="*/ 53527 w 1282245"/>
              <a:gd name="connsiteY0" fmla="*/ 48660 h 1023078"/>
              <a:gd name="connsiteX1" fmla="*/ 77639 w 1282245"/>
              <a:gd name="connsiteY1" fmla="*/ 38332 h 1023078"/>
              <a:gd name="connsiteX2" fmla="*/ 89463 w 1282245"/>
              <a:gd name="connsiteY2" fmla="*/ 23783 h 1023078"/>
              <a:gd name="connsiteX3" fmla="*/ 135742 w 1282245"/>
              <a:gd name="connsiteY3" fmla="*/ 0 h 1023078"/>
              <a:gd name="connsiteX4" fmla="*/ 1282245 w 1282245"/>
              <a:gd name="connsiteY4" fmla="*/ 130709 h 1023078"/>
              <a:gd name="connsiteX5" fmla="*/ 1280935 w 1282245"/>
              <a:gd name="connsiteY5" fmla="*/ 201794 h 1023078"/>
              <a:gd name="connsiteX6" fmla="*/ 1278431 w 1282245"/>
              <a:gd name="connsiteY6" fmla="*/ 251883 h 1023078"/>
              <a:gd name="connsiteX7" fmla="*/ 1258410 w 1282245"/>
              <a:gd name="connsiteY7" fmla="*/ 314660 h 1023078"/>
              <a:gd name="connsiteX8" fmla="*/ 1254587 w 1282245"/>
              <a:gd name="connsiteY8" fmla="*/ 380780 h 1023078"/>
              <a:gd name="connsiteX9" fmla="*/ 1237332 w 1282245"/>
              <a:gd name="connsiteY9" fmla="*/ 431449 h 1023078"/>
              <a:gd name="connsiteX10" fmla="*/ 1227585 w 1282245"/>
              <a:gd name="connsiteY10" fmla="*/ 477305 h 1023078"/>
              <a:gd name="connsiteX11" fmla="*/ 1197482 w 1282245"/>
              <a:gd name="connsiteY11" fmla="*/ 544628 h 1023078"/>
              <a:gd name="connsiteX12" fmla="*/ 1149145 w 1282245"/>
              <a:gd name="connsiteY12" fmla="*/ 608447 h 1023078"/>
              <a:gd name="connsiteX13" fmla="*/ 392889 w 1282245"/>
              <a:gd name="connsiteY13" fmla="*/ 1023078 h 1023078"/>
              <a:gd name="connsiteX14" fmla="*/ 238097 w 1282245"/>
              <a:gd name="connsiteY14" fmla="*/ 1011754 h 1023078"/>
              <a:gd name="connsiteX15" fmla="*/ 101191 w 1282245"/>
              <a:gd name="connsiteY15" fmla="*/ 989583 h 1023078"/>
              <a:gd name="connsiteX16" fmla="*/ 0 w 1282245"/>
              <a:gd name="connsiteY16" fmla="*/ 964178 h 1023078"/>
              <a:gd name="connsiteX17" fmla="*/ 53527 w 1282245"/>
              <a:gd name="connsiteY17" fmla="*/ 48660 h 1023078"/>
              <a:gd name="connsiteX0" fmla="*/ 53527 w 1282245"/>
              <a:gd name="connsiteY0" fmla="*/ 48660 h 1011754"/>
              <a:gd name="connsiteX1" fmla="*/ 77639 w 1282245"/>
              <a:gd name="connsiteY1" fmla="*/ 38332 h 1011754"/>
              <a:gd name="connsiteX2" fmla="*/ 89463 w 1282245"/>
              <a:gd name="connsiteY2" fmla="*/ 23783 h 1011754"/>
              <a:gd name="connsiteX3" fmla="*/ 135742 w 1282245"/>
              <a:gd name="connsiteY3" fmla="*/ 0 h 1011754"/>
              <a:gd name="connsiteX4" fmla="*/ 1282245 w 1282245"/>
              <a:gd name="connsiteY4" fmla="*/ 130709 h 1011754"/>
              <a:gd name="connsiteX5" fmla="*/ 1280935 w 1282245"/>
              <a:gd name="connsiteY5" fmla="*/ 201794 h 1011754"/>
              <a:gd name="connsiteX6" fmla="*/ 1278431 w 1282245"/>
              <a:gd name="connsiteY6" fmla="*/ 251883 h 1011754"/>
              <a:gd name="connsiteX7" fmla="*/ 1258410 w 1282245"/>
              <a:gd name="connsiteY7" fmla="*/ 314660 h 1011754"/>
              <a:gd name="connsiteX8" fmla="*/ 1254587 w 1282245"/>
              <a:gd name="connsiteY8" fmla="*/ 380780 h 1011754"/>
              <a:gd name="connsiteX9" fmla="*/ 1237332 w 1282245"/>
              <a:gd name="connsiteY9" fmla="*/ 431449 h 1011754"/>
              <a:gd name="connsiteX10" fmla="*/ 1227585 w 1282245"/>
              <a:gd name="connsiteY10" fmla="*/ 477305 h 1011754"/>
              <a:gd name="connsiteX11" fmla="*/ 1197482 w 1282245"/>
              <a:gd name="connsiteY11" fmla="*/ 544628 h 1011754"/>
              <a:gd name="connsiteX12" fmla="*/ 1149145 w 1282245"/>
              <a:gd name="connsiteY12" fmla="*/ 608447 h 1011754"/>
              <a:gd name="connsiteX13" fmla="*/ 1130363 w 1282245"/>
              <a:gd name="connsiteY13" fmla="*/ 651720 h 1011754"/>
              <a:gd name="connsiteX14" fmla="*/ 238097 w 1282245"/>
              <a:gd name="connsiteY14" fmla="*/ 1011754 h 1011754"/>
              <a:gd name="connsiteX15" fmla="*/ 101191 w 1282245"/>
              <a:gd name="connsiteY15" fmla="*/ 989583 h 1011754"/>
              <a:gd name="connsiteX16" fmla="*/ 0 w 1282245"/>
              <a:gd name="connsiteY16" fmla="*/ 964178 h 1011754"/>
              <a:gd name="connsiteX17" fmla="*/ 53527 w 1282245"/>
              <a:gd name="connsiteY17" fmla="*/ 48660 h 1011754"/>
              <a:gd name="connsiteX0" fmla="*/ 53527 w 1282245"/>
              <a:gd name="connsiteY0" fmla="*/ 48660 h 989583"/>
              <a:gd name="connsiteX1" fmla="*/ 77639 w 1282245"/>
              <a:gd name="connsiteY1" fmla="*/ 38332 h 989583"/>
              <a:gd name="connsiteX2" fmla="*/ 89463 w 1282245"/>
              <a:gd name="connsiteY2" fmla="*/ 23783 h 989583"/>
              <a:gd name="connsiteX3" fmla="*/ 135742 w 1282245"/>
              <a:gd name="connsiteY3" fmla="*/ 0 h 989583"/>
              <a:gd name="connsiteX4" fmla="*/ 1282245 w 1282245"/>
              <a:gd name="connsiteY4" fmla="*/ 130709 h 989583"/>
              <a:gd name="connsiteX5" fmla="*/ 1280935 w 1282245"/>
              <a:gd name="connsiteY5" fmla="*/ 201794 h 989583"/>
              <a:gd name="connsiteX6" fmla="*/ 1278431 w 1282245"/>
              <a:gd name="connsiteY6" fmla="*/ 251883 h 989583"/>
              <a:gd name="connsiteX7" fmla="*/ 1258410 w 1282245"/>
              <a:gd name="connsiteY7" fmla="*/ 314660 h 989583"/>
              <a:gd name="connsiteX8" fmla="*/ 1254587 w 1282245"/>
              <a:gd name="connsiteY8" fmla="*/ 380780 h 989583"/>
              <a:gd name="connsiteX9" fmla="*/ 1237332 w 1282245"/>
              <a:gd name="connsiteY9" fmla="*/ 431449 h 989583"/>
              <a:gd name="connsiteX10" fmla="*/ 1227585 w 1282245"/>
              <a:gd name="connsiteY10" fmla="*/ 477305 h 989583"/>
              <a:gd name="connsiteX11" fmla="*/ 1197482 w 1282245"/>
              <a:gd name="connsiteY11" fmla="*/ 544628 h 989583"/>
              <a:gd name="connsiteX12" fmla="*/ 1149145 w 1282245"/>
              <a:gd name="connsiteY12" fmla="*/ 608447 h 989583"/>
              <a:gd name="connsiteX13" fmla="*/ 1130363 w 1282245"/>
              <a:gd name="connsiteY13" fmla="*/ 651720 h 989583"/>
              <a:gd name="connsiteX14" fmla="*/ 101191 w 1282245"/>
              <a:gd name="connsiteY14" fmla="*/ 989583 h 989583"/>
              <a:gd name="connsiteX15" fmla="*/ 0 w 1282245"/>
              <a:gd name="connsiteY15" fmla="*/ 964178 h 989583"/>
              <a:gd name="connsiteX16" fmla="*/ 53527 w 1282245"/>
              <a:gd name="connsiteY16" fmla="*/ 48660 h 989583"/>
              <a:gd name="connsiteX0" fmla="*/ 53527 w 1282245"/>
              <a:gd name="connsiteY0" fmla="*/ 48660 h 964178"/>
              <a:gd name="connsiteX1" fmla="*/ 77639 w 1282245"/>
              <a:gd name="connsiteY1" fmla="*/ 38332 h 964178"/>
              <a:gd name="connsiteX2" fmla="*/ 89463 w 1282245"/>
              <a:gd name="connsiteY2" fmla="*/ 23783 h 964178"/>
              <a:gd name="connsiteX3" fmla="*/ 135742 w 1282245"/>
              <a:gd name="connsiteY3" fmla="*/ 0 h 964178"/>
              <a:gd name="connsiteX4" fmla="*/ 1282245 w 1282245"/>
              <a:gd name="connsiteY4" fmla="*/ 130709 h 964178"/>
              <a:gd name="connsiteX5" fmla="*/ 1280935 w 1282245"/>
              <a:gd name="connsiteY5" fmla="*/ 201794 h 964178"/>
              <a:gd name="connsiteX6" fmla="*/ 1278431 w 1282245"/>
              <a:gd name="connsiteY6" fmla="*/ 251883 h 964178"/>
              <a:gd name="connsiteX7" fmla="*/ 1258410 w 1282245"/>
              <a:gd name="connsiteY7" fmla="*/ 314660 h 964178"/>
              <a:gd name="connsiteX8" fmla="*/ 1254587 w 1282245"/>
              <a:gd name="connsiteY8" fmla="*/ 380780 h 964178"/>
              <a:gd name="connsiteX9" fmla="*/ 1237332 w 1282245"/>
              <a:gd name="connsiteY9" fmla="*/ 431449 h 964178"/>
              <a:gd name="connsiteX10" fmla="*/ 1227585 w 1282245"/>
              <a:gd name="connsiteY10" fmla="*/ 477305 h 964178"/>
              <a:gd name="connsiteX11" fmla="*/ 1197482 w 1282245"/>
              <a:gd name="connsiteY11" fmla="*/ 544628 h 964178"/>
              <a:gd name="connsiteX12" fmla="*/ 1149145 w 1282245"/>
              <a:gd name="connsiteY12" fmla="*/ 608447 h 964178"/>
              <a:gd name="connsiteX13" fmla="*/ 1130363 w 1282245"/>
              <a:gd name="connsiteY13" fmla="*/ 651720 h 964178"/>
              <a:gd name="connsiteX14" fmla="*/ 0 w 1282245"/>
              <a:gd name="connsiteY14" fmla="*/ 964178 h 964178"/>
              <a:gd name="connsiteX15" fmla="*/ 53527 w 1282245"/>
              <a:gd name="connsiteY15" fmla="*/ 48660 h 964178"/>
              <a:gd name="connsiteX0" fmla="*/ 0 w 1228718"/>
              <a:gd name="connsiteY0" fmla="*/ 48660 h 742472"/>
              <a:gd name="connsiteX1" fmla="*/ 24112 w 1228718"/>
              <a:gd name="connsiteY1" fmla="*/ 38332 h 742472"/>
              <a:gd name="connsiteX2" fmla="*/ 35936 w 1228718"/>
              <a:gd name="connsiteY2" fmla="*/ 23783 h 742472"/>
              <a:gd name="connsiteX3" fmla="*/ 82215 w 1228718"/>
              <a:gd name="connsiteY3" fmla="*/ 0 h 742472"/>
              <a:gd name="connsiteX4" fmla="*/ 1228718 w 1228718"/>
              <a:gd name="connsiteY4" fmla="*/ 130709 h 742472"/>
              <a:gd name="connsiteX5" fmla="*/ 1227408 w 1228718"/>
              <a:gd name="connsiteY5" fmla="*/ 201794 h 742472"/>
              <a:gd name="connsiteX6" fmla="*/ 1224904 w 1228718"/>
              <a:gd name="connsiteY6" fmla="*/ 251883 h 742472"/>
              <a:gd name="connsiteX7" fmla="*/ 1204883 w 1228718"/>
              <a:gd name="connsiteY7" fmla="*/ 314660 h 742472"/>
              <a:gd name="connsiteX8" fmla="*/ 1201060 w 1228718"/>
              <a:gd name="connsiteY8" fmla="*/ 380780 h 742472"/>
              <a:gd name="connsiteX9" fmla="*/ 1183805 w 1228718"/>
              <a:gd name="connsiteY9" fmla="*/ 431449 h 742472"/>
              <a:gd name="connsiteX10" fmla="*/ 1174058 w 1228718"/>
              <a:gd name="connsiteY10" fmla="*/ 477305 h 742472"/>
              <a:gd name="connsiteX11" fmla="*/ 1143955 w 1228718"/>
              <a:gd name="connsiteY11" fmla="*/ 544628 h 742472"/>
              <a:gd name="connsiteX12" fmla="*/ 1095618 w 1228718"/>
              <a:gd name="connsiteY12" fmla="*/ 608447 h 742472"/>
              <a:gd name="connsiteX13" fmla="*/ 1076836 w 1228718"/>
              <a:gd name="connsiteY13" fmla="*/ 651720 h 742472"/>
              <a:gd name="connsiteX14" fmla="*/ 979667 w 1228718"/>
              <a:gd name="connsiteY14" fmla="*/ 742472 h 742472"/>
              <a:gd name="connsiteX15" fmla="*/ 0 w 1228718"/>
              <a:gd name="connsiteY15" fmla="*/ 48660 h 742472"/>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76836 w 1228718"/>
              <a:gd name="connsiteY13" fmla="*/ 651720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29826 w 1228718"/>
              <a:gd name="connsiteY13" fmla="*/ 696018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95618 w 1228718"/>
              <a:gd name="connsiteY12" fmla="*/ 608447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43955 w 1228718"/>
              <a:gd name="connsiteY11" fmla="*/ 54462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74058 w 1228718"/>
              <a:gd name="connsiteY10" fmla="*/ 477305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80780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04883 w 1228718"/>
              <a:gd name="connsiteY7" fmla="*/ 314660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4904 w 1228718"/>
              <a:gd name="connsiteY6" fmla="*/ 251883 h 746164"/>
              <a:gd name="connsiteX7" fmla="*/ 1216230 w 1228718"/>
              <a:gd name="connsiteY7" fmla="*/ 307277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8718"/>
              <a:gd name="connsiteY0" fmla="*/ 48660 h 746164"/>
              <a:gd name="connsiteX1" fmla="*/ 24112 w 1228718"/>
              <a:gd name="connsiteY1" fmla="*/ 38332 h 746164"/>
              <a:gd name="connsiteX2" fmla="*/ 35936 w 1228718"/>
              <a:gd name="connsiteY2" fmla="*/ 23783 h 746164"/>
              <a:gd name="connsiteX3" fmla="*/ 82215 w 1228718"/>
              <a:gd name="connsiteY3" fmla="*/ 0 h 746164"/>
              <a:gd name="connsiteX4" fmla="*/ 1228718 w 1228718"/>
              <a:gd name="connsiteY4" fmla="*/ 130709 h 746164"/>
              <a:gd name="connsiteX5" fmla="*/ 1227408 w 1228718"/>
              <a:gd name="connsiteY5" fmla="*/ 201794 h 746164"/>
              <a:gd name="connsiteX6" fmla="*/ 1226526 w 1228718"/>
              <a:gd name="connsiteY6" fmla="*/ 243269 h 746164"/>
              <a:gd name="connsiteX7" fmla="*/ 1216230 w 1228718"/>
              <a:gd name="connsiteY7" fmla="*/ 307277 h 746164"/>
              <a:gd name="connsiteX8" fmla="*/ 1201060 w 1228718"/>
              <a:gd name="connsiteY8" fmla="*/ 373397 h 746164"/>
              <a:gd name="connsiteX9" fmla="*/ 1183805 w 1228718"/>
              <a:gd name="connsiteY9" fmla="*/ 431449 h 746164"/>
              <a:gd name="connsiteX10" fmla="*/ 1157848 w 1228718"/>
              <a:gd name="connsiteY10" fmla="*/ 485919 h 746164"/>
              <a:gd name="connsiteX11" fmla="*/ 1132608 w 1228718"/>
              <a:gd name="connsiteY11" fmla="*/ 545858 h 746164"/>
              <a:gd name="connsiteX12" fmla="*/ 1084271 w 1228718"/>
              <a:gd name="connsiteY12" fmla="*/ 629366 h 746164"/>
              <a:gd name="connsiteX13" fmla="*/ 1041173 w 1228718"/>
              <a:gd name="connsiteY13" fmla="*/ 681252 h 746164"/>
              <a:gd name="connsiteX14" fmla="*/ 989393 w 1228718"/>
              <a:gd name="connsiteY14" fmla="*/ 746164 h 746164"/>
              <a:gd name="connsiteX15" fmla="*/ 0 w 1228718"/>
              <a:gd name="connsiteY15" fmla="*/ 48660 h 746164"/>
              <a:gd name="connsiteX0" fmla="*/ 0 w 1229466"/>
              <a:gd name="connsiteY0" fmla="*/ 48660 h 746164"/>
              <a:gd name="connsiteX1" fmla="*/ 24112 w 1229466"/>
              <a:gd name="connsiteY1" fmla="*/ 38332 h 746164"/>
              <a:gd name="connsiteX2" fmla="*/ 35936 w 1229466"/>
              <a:gd name="connsiteY2" fmla="*/ 23783 h 746164"/>
              <a:gd name="connsiteX3" fmla="*/ 82215 w 1229466"/>
              <a:gd name="connsiteY3" fmla="*/ 0 h 746164"/>
              <a:gd name="connsiteX4" fmla="*/ 1228718 w 1229466"/>
              <a:gd name="connsiteY4" fmla="*/ 130709 h 746164"/>
              <a:gd name="connsiteX5" fmla="*/ 1229029 w 1229466"/>
              <a:gd name="connsiteY5" fmla="*/ 180875 h 746164"/>
              <a:gd name="connsiteX6" fmla="*/ 1226526 w 1229466"/>
              <a:gd name="connsiteY6" fmla="*/ 243269 h 746164"/>
              <a:gd name="connsiteX7" fmla="*/ 1216230 w 1229466"/>
              <a:gd name="connsiteY7" fmla="*/ 307277 h 746164"/>
              <a:gd name="connsiteX8" fmla="*/ 1201060 w 1229466"/>
              <a:gd name="connsiteY8" fmla="*/ 373397 h 746164"/>
              <a:gd name="connsiteX9" fmla="*/ 1183805 w 1229466"/>
              <a:gd name="connsiteY9" fmla="*/ 431449 h 746164"/>
              <a:gd name="connsiteX10" fmla="*/ 1157848 w 1229466"/>
              <a:gd name="connsiteY10" fmla="*/ 485919 h 746164"/>
              <a:gd name="connsiteX11" fmla="*/ 1132608 w 1229466"/>
              <a:gd name="connsiteY11" fmla="*/ 545858 h 746164"/>
              <a:gd name="connsiteX12" fmla="*/ 1084271 w 1229466"/>
              <a:gd name="connsiteY12" fmla="*/ 629366 h 746164"/>
              <a:gd name="connsiteX13" fmla="*/ 1041173 w 1229466"/>
              <a:gd name="connsiteY13" fmla="*/ 681252 h 746164"/>
              <a:gd name="connsiteX14" fmla="*/ 989393 w 1229466"/>
              <a:gd name="connsiteY14" fmla="*/ 746164 h 746164"/>
              <a:gd name="connsiteX15" fmla="*/ 0 w 1229466"/>
              <a:gd name="connsiteY15" fmla="*/ 48660 h 746164"/>
              <a:gd name="connsiteX0" fmla="*/ 0 w 1229466"/>
              <a:gd name="connsiteY0" fmla="*/ 37585 h 735089"/>
              <a:gd name="connsiteX1" fmla="*/ 24112 w 1229466"/>
              <a:gd name="connsiteY1" fmla="*/ 27257 h 735089"/>
              <a:gd name="connsiteX2" fmla="*/ 35936 w 1229466"/>
              <a:gd name="connsiteY2" fmla="*/ 12708 h 735089"/>
              <a:gd name="connsiteX3" fmla="*/ 56278 w 1229466"/>
              <a:gd name="connsiteY3" fmla="*/ 0 h 735089"/>
              <a:gd name="connsiteX4" fmla="*/ 1228718 w 1229466"/>
              <a:gd name="connsiteY4" fmla="*/ 119634 h 735089"/>
              <a:gd name="connsiteX5" fmla="*/ 1229029 w 1229466"/>
              <a:gd name="connsiteY5" fmla="*/ 169800 h 735089"/>
              <a:gd name="connsiteX6" fmla="*/ 1226526 w 1229466"/>
              <a:gd name="connsiteY6" fmla="*/ 232194 h 735089"/>
              <a:gd name="connsiteX7" fmla="*/ 1216230 w 1229466"/>
              <a:gd name="connsiteY7" fmla="*/ 296202 h 735089"/>
              <a:gd name="connsiteX8" fmla="*/ 1201060 w 1229466"/>
              <a:gd name="connsiteY8" fmla="*/ 362322 h 735089"/>
              <a:gd name="connsiteX9" fmla="*/ 1183805 w 1229466"/>
              <a:gd name="connsiteY9" fmla="*/ 420374 h 735089"/>
              <a:gd name="connsiteX10" fmla="*/ 1157848 w 1229466"/>
              <a:gd name="connsiteY10" fmla="*/ 474844 h 735089"/>
              <a:gd name="connsiteX11" fmla="*/ 1132608 w 1229466"/>
              <a:gd name="connsiteY11" fmla="*/ 534783 h 735089"/>
              <a:gd name="connsiteX12" fmla="*/ 1084271 w 1229466"/>
              <a:gd name="connsiteY12" fmla="*/ 618291 h 735089"/>
              <a:gd name="connsiteX13" fmla="*/ 1041173 w 1229466"/>
              <a:gd name="connsiteY13" fmla="*/ 670177 h 735089"/>
              <a:gd name="connsiteX14" fmla="*/ 989393 w 1229466"/>
              <a:gd name="connsiteY14" fmla="*/ 735089 h 735089"/>
              <a:gd name="connsiteX15" fmla="*/ 0 w 1229466"/>
              <a:gd name="connsiteY15" fmla="*/ 37585 h 735089"/>
              <a:gd name="connsiteX0" fmla="*/ 0 w 1235950"/>
              <a:gd name="connsiteY0" fmla="*/ 35124 h 735089"/>
              <a:gd name="connsiteX1" fmla="*/ 30596 w 1235950"/>
              <a:gd name="connsiteY1" fmla="*/ 27257 h 735089"/>
              <a:gd name="connsiteX2" fmla="*/ 42420 w 1235950"/>
              <a:gd name="connsiteY2" fmla="*/ 12708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42420 w 1235950"/>
              <a:gd name="connsiteY2" fmla="*/ 12708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39178 w 1235950"/>
              <a:gd name="connsiteY2" fmla="*/ 7786 h 735089"/>
              <a:gd name="connsiteX3" fmla="*/ 62762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 name="connsiteX0" fmla="*/ 0 w 1235950"/>
              <a:gd name="connsiteY0" fmla="*/ 35124 h 735089"/>
              <a:gd name="connsiteX1" fmla="*/ 17628 w 1235950"/>
              <a:gd name="connsiteY1" fmla="*/ 22335 h 735089"/>
              <a:gd name="connsiteX2" fmla="*/ 39178 w 1235950"/>
              <a:gd name="connsiteY2" fmla="*/ 7786 h 735089"/>
              <a:gd name="connsiteX3" fmla="*/ 49794 w 1235950"/>
              <a:gd name="connsiteY3" fmla="*/ 0 h 735089"/>
              <a:gd name="connsiteX4" fmla="*/ 1235202 w 1235950"/>
              <a:gd name="connsiteY4" fmla="*/ 119634 h 735089"/>
              <a:gd name="connsiteX5" fmla="*/ 1235513 w 1235950"/>
              <a:gd name="connsiteY5" fmla="*/ 169800 h 735089"/>
              <a:gd name="connsiteX6" fmla="*/ 1233010 w 1235950"/>
              <a:gd name="connsiteY6" fmla="*/ 232194 h 735089"/>
              <a:gd name="connsiteX7" fmla="*/ 1222714 w 1235950"/>
              <a:gd name="connsiteY7" fmla="*/ 296202 h 735089"/>
              <a:gd name="connsiteX8" fmla="*/ 1207544 w 1235950"/>
              <a:gd name="connsiteY8" fmla="*/ 362322 h 735089"/>
              <a:gd name="connsiteX9" fmla="*/ 1190289 w 1235950"/>
              <a:gd name="connsiteY9" fmla="*/ 420374 h 735089"/>
              <a:gd name="connsiteX10" fmla="*/ 1164332 w 1235950"/>
              <a:gd name="connsiteY10" fmla="*/ 474844 h 735089"/>
              <a:gd name="connsiteX11" fmla="*/ 1139092 w 1235950"/>
              <a:gd name="connsiteY11" fmla="*/ 534783 h 735089"/>
              <a:gd name="connsiteX12" fmla="*/ 1090755 w 1235950"/>
              <a:gd name="connsiteY12" fmla="*/ 618291 h 735089"/>
              <a:gd name="connsiteX13" fmla="*/ 1047657 w 1235950"/>
              <a:gd name="connsiteY13" fmla="*/ 670177 h 735089"/>
              <a:gd name="connsiteX14" fmla="*/ 995877 w 1235950"/>
              <a:gd name="connsiteY14" fmla="*/ 735089 h 735089"/>
              <a:gd name="connsiteX15" fmla="*/ 0 w 1235950"/>
              <a:gd name="connsiteY15" fmla="*/ 35124 h 73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5950" h="735089">
                <a:moveTo>
                  <a:pt x="0" y="35124"/>
                </a:moveTo>
                <a:lnTo>
                  <a:pt x="17628" y="22335"/>
                </a:lnTo>
                <a:lnTo>
                  <a:pt x="39178" y="7786"/>
                </a:lnTo>
                <a:lnTo>
                  <a:pt x="49794" y="0"/>
                </a:lnTo>
                <a:lnTo>
                  <a:pt x="1235202" y="119634"/>
                </a:lnTo>
                <a:cubicBezTo>
                  <a:pt x="1234765" y="143329"/>
                  <a:pt x="1235950" y="146105"/>
                  <a:pt x="1235513" y="169800"/>
                </a:cubicBezTo>
                <a:lnTo>
                  <a:pt x="1233010" y="232194"/>
                </a:lnTo>
                <a:lnTo>
                  <a:pt x="1222714" y="296202"/>
                </a:lnTo>
                <a:lnTo>
                  <a:pt x="1207544" y="362322"/>
                </a:lnTo>
                <a:lnTo>
                  <a:pt x="1190289" y="420374"/>
                </a:lnTo>
                <a:lnTo>
                  <a:pt x="1164332" y="474844"/>
                </a:lnTo>
                <a:lnTo>
                  <a:pt x="1139092" y="534783"/>
                </a:lnTo>
                <a:lnTo>
                  <a:pt x="1090755" y="618291"/>
                </a:lnTo>
                <a:lnTo>
                  <a:pt x="1047657" y="670177"/>
                </a:lnTo>
                <a:lnTo>
                  <a:pt x="995877" y="735089"/>
                </a:lnTo>
                <a:lnTo>
                  <a:pt x="0" y="35124"/>
                </a:lnTo>
                <a:close/>
              </a:path>
            </a:pathLst>
          </a:custGeom>
          <a:solidFill>
            <a:srgbClr val="8CB7C7">
              <a:alpha val="50000"/>
            </a:srgb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04" name="Rounded Rectangle 1003"/>
          <p:cNvSpPr/>
          <p:nvPr>
            <p:custDataLst>
              <p:tags r:id="rId9"/>
            </p:custDataLst>
          </p:nvPr>
        </p:nvSpPr>
        <p:spPr>
          <a:xfrm>
            <a:off x="6553611" y="2648545"/>
            <a:ext cx="1041400" cy="774700"/>
          </a:xfrm>
          <a:prstGeom prst="roundRect">
            <a:avLst/>
          </a:prstGeom>
          <a:solidFill>
            <a:schemeClr val="tx1"/>
          </a:solidFill>
          <a:ln w="9525">
            <a:solidFill>
              <a:srgbClr val="8CB7C7"/>
            </a:solidFill>
          </a:ln>
          <a:effectLst/>
        </p:spPr>
        <p:style>
          <a:lnRef idx="2">
            <a:schemeClr val="accent1">
              <a:shade val="50000"/>
            </a:schemeClr>
          </a:lnRef>
          <a:fillRef idx="1">
            <a:schemeClr val="accent1"/>
          </a:fillRef>
          <a:effectRef idx="0">
            <a:schemeClr val="accent1"/>
          </a:effectRef>
          <a:fontRef idx="minor">
            <a:schemeClr val="lt1"/>
          </a:fontRef>
        </p:style>
        <p:txBody>
          <a:bodyPr lIns="93006" tIns="91546" rIns="93006"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lnSpc>
                <a:spcPts val="1000"/>
              </a:lnSpc>
              <a:spcAft>
                <a:spcPct val="0"/>
              </a:spcAft>
            </a:pPr>
            <a:r>
              <a:rPr lang="en-US" sz="1000" b="1" dirty="0" smtClean="0">
                <a:solidFill>
                  <a:srgbClr val="FFFFFF"/>
                </a:solidFill>
              </a:rPr>
              <a:t>Human resources for health</a:t>
            </a:r>
            <a:endParaRPr lang="en-US" sz="1000" b="1" dirty="0">
              <a:solidFill>
                <a:srgbClr val="FFFFFF"/>
              </a:solidFill>
            </a:endParaRPr>
          </a:p>
        </p:txBody>
      </p:sp>
      <p:sp>
        <p:nvSpPr>
          <p:cNvPr id="1005" name="Freeform 1004"/>
          <p:cNvSpPr/>
          <p:nvPr>
            <p:custDataLst>
              <p:tags r:id="rId10"/>
            </p:custDataLst>
          </p:nvPr>
        </p:nvSpPr>
        <p:spPr bwMode="gray">
          <a:xfrm>
            <a:off x="1727296" y="2111807"/>
            <a:ext cx="2796412" cy="3398163"/>
          </a:xfrm>
          <a:custGeom>
            <a:avLst/>
            <a:gdLst>
              <a:gd name="connsiteX0" fmla="*/ 0 w 923027"/>
              <a:gd name="connsiteY0" fmla="*/ 0 h 1069676"/>
              <a:gd name="connsiteX1" fmla="*/ 923027 w 923027"/>
              <a:gd name="connsiteY1" fmla="*/ 0 h 1069676"/>
              <a:gd name="connsiteX2" fmla="*/ 923027 w 923027"/>
              <a:gd name="connsiteY2" fmla="*/ 1069676 h 1069676"/>
              <a:gd name="connsiteX3" fmla="*/ 0 w 923027"/>
              <a:gd name="connsiteY3" fmla="*/ 1069676 h 1069676"/>
              <a:gd name="connsiteX4" fmla="*/ 0 w 923027"/>
              <a:gd name="connsiteY4" fmla="*/ 0 h 1069676"/>
              <a:gd name="connsiteX0" fmla="*/ 0 w 923027"/>
              <a:gd name="connsiteY0" fmla="*/ 17252 h 1086928"/>
              <a:gd name="connsiteX1" fmla="*/ 483080 w 923027"/>
              <a:gd name="connsiteY1" fmla="*/ 0 h 1086928"/>
              <a:gd name="connsiteX2" fmla="*/ 923027 w 923027"/>
              <a:gd name="connsiteY2" fmla="*/ 17252 h 1086928"/>
              <a:gd name="connsiteX3" fmla="*/ 923027 w 923027"/>
              <a:gd name="connsiteY3" fmla="*/ 1086928 h 1086928"/>
              <a:gd name="connsiteX4" fmla="*/ 0 w 923027"/>
              <a:gd name="connsiteY4" fmla="*/ 1086928 h 1086928"/>
              <a:gd name="connsiteX5" fmla="*/ 0 w 923027"/>
              <a:gd name="connsiteY5" fmla="*/ 17252 h 1086928"/>
              <a:gd name="connsiteX0" fmla="*/ 0 w 923027"/>
              <a:gd name="connsiteY0" fmla="*/ 17252 h 1086928"/>
              <a:gd name="connsiteX1" fmla="*/ 483080 w 923027"/>
              <a:gd name="connsiteY1" fmla="*/ 0 h 1086928"/>
              <a:gd name="connsiteX2" fmla="*/ 741872 w 923027"/>
              <a:gd name="connsiteY2" fmla="*/ 0 h 1086928"/>
              <a:gd name="connsiteX3" fmla="*/ 923027 w 923027"/>
              <a:gd name="connsiteY3" fmla="*/ 17252 h 1086928"/>
              <a:gd name="connsiteX4" fmla="*/ 923027 w 923027"/>
              <a:gd name="connsiteY4" fmla="*/ 1086928 h 1086928"/>
              <a:gd name="connsiteX5" fmla="*/ 0 w 923027"/>
              <a:gd name="connsiteY5" fmla="*/ 1086928 h 1086928"/>
              <a:gd name="connsiteX6" fmla="*/ 0 w 923027"/>
              <a:gd name="connsiteY6"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0 w 923027"/>
              <a:gd name="connsiteY6" fmla="*/ 1086928 h 1086928"/>
              <a:gd name="connsiteX7" fmla="*/ 0 w 923027"/>
              <a:gd name="connsiteY7"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0 w 923027"/>
              <a:gd name="connsiteY7" fmla="*/ 1086928 h 1086928"/>
              <a:gd name="connsiteX8" fmla="*/ 0 w 923027"/>
              <a:gd name="connsiteY8"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500332 w 923027"/>
              <a:gd name="connsiteY7" fmla="*/ 1078301 h 1086928"/>
              <a:gd name="connsiteX8" fmla="*/ 0 w 923027"/>
              <a:gd name="connsiteY8" fmla="*/ 1086928 h 1086928"/>
              <a:gd name="connsiteX9" fmla="*/ 0 w 923027"/>
              <a:gd name="connsiteY9"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707366 w 923027"/>
              <a:gd name="connsiteY6" fmla="*/ 1086928 h 1086928"/>
              <a:gd name="connsiteX7" fmla="*/ 241540 w 923027"/>
              <a:gd name="connsiteY7" fmla="*/ 1078301 h 1086928"/>
              <a:gd name="connsiteX8" fmla="*/ 500332 w 923027"/>
              <a:gd name="connsiteY8" fmla="*/ 1078301 h 1086928"/>
              <a:gd name="connsiteX9" fmla="*/ 0 w 923027"/>
              <a:gd name="connsiteY9" fmla="*/ 1086928 h 1086928"/>
              <a:gd name="connsiteX10" fmla="*/ 0 w 923027"/>
              <a:gd name="connsiteY10" fmla="*/ 17252 h 1086928"/>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241540 w 923027"/>
              <a:gd name="connsiteY7" fmla="*/ 1078301 h 1164566"/>
              <a:gd name="connsiteX8" fmla="*/ 500332 w 923027"/>
              <a:gd name="connsiteY8" fmla="*/ 1078301 h 1164566"/>
              <a:gd name="connsiteX9" fmla="*/ 0 w 923027"/>
              <a:gd name="connsiteY9" fmla="*/ 1086928 h 1164566"/>
              <a:gd name="connsiteX10" fmla="*/ 0 w 923027"/>
              <a:gd name="connsiteY10" fmla="*/ 17252 h 1164566"/>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41540 w 923027"/>
              <a:gd name="connsiteY7" fmla="*/ 1078301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07035 w 923027"/>
              <a:gd name="connsiteY7" fmla="*/ 116456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527075 w 923027"/>
              <a:gd name="connsiteY7" fmla="*/ 106169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527075 w 923027"/>
              <a:gd name="connsiteY7" fmla="*/ 1061695 h 1164566"/>
              <a:gd name="connsiteX8" fmla="*/ 253689 w 923027"/>
              <a:gd name="connsiteY8" fmla="*/ 1161762 h 1164566"/>
              <a:gd name="connsiteX9" fmla="*/ 0 w 923027"/>
              <a:gd name="connsiteY9" fmla="*/ 1086928 h 1164566"/>
              <a:gd name="connsiteX10" fmla="*/ 0 w 923027"/>
              <a:gd name="connsiteY10" fmla="*/ 17252 h 1164566"/>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253689 w 923027"/>
              <a:gd name="connsiteY8" fmla="*/ 116176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7373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6837"/>
              <a:gd name="connsiteY0" fmla="*/ 17252 h 1175995"/>
              <a:gd name="connsiteX1" fmla="*/ 250166 w 926837"/>
              <a:gd name="connsiteY1" fmla="*/ 0 h 1175995"/>
              <a:gd name="connsiteX2" fmla="*/ 483080 w 926837"/>
              <a:gd name="connsiteY2" fmla="*/ 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593282 w 926837"/>
              <a:gd name="connsiteY3" fmla="*/ 381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30480 h 1189223"/>
              <a:gd name="connsiteX1" fmla="*/ 250166 w 926837"/>
              <a:gd name="connsiteY1" fmla="*/ 1322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0 w 926837"/>
              <a:gd name="connsiteY0" fmla="*/ 3048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312420 w 926837"/>
              <a:gd name="connsiteY0" fmla="*/ 2286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12420 w 926837"/>
              <a:gd name="connsiteY0" fmla="*/ 2286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20040 w 926837"/>
              <a:gd name="connsiteY0" fmla="*/ 1143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926837"/>
              <a:gd name="connsiteY0" fmla="*/ 11430 h 1189223"/>
              <a:gd name="connsiteX1" fmla="*/ 402566 w 926837"/>
              <a:gd name="connsiteY1" fmla="*/ 24658 h 1189223"/>
              <a:gd name="connsiteX2" fmla="*/ 49070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1596219"/>
              <a:gd name="connsiteY0" fmla="*/ 11430 h 1189223"/>
              <a:gd name="connsiteX1" fmla="*/ 402566 w 1596219"/>
              <a:gd name="connsiteY1" fmla="*/ 24658 h 1189223"/>
              <a:gd name="connsiteX2" fmla="*/ 490700 w 1596219"/>
              <a:gd name="connsiteY2" fmla="*/ 32278 h 1189223"/>
              <a:gd name="connsiteX3" fmla="*/ 593282 w 1596219"/>
              <a:gd name="connsiteY3" fmla="*/ 17038 h 1189223"/>
              <a:gd name="connsiteX4" fmla="*/ 663947 w 1596219"/>
              <a:gd name="connsiteY4" fmla="*/ 0 h 1189223"/>
              <a:gd name="connsiteX5" fmla="*/ 1596219 w 1596219"/>
              <a:gd name="connsiteY5" fmla="*/ 661601 h 1189223"/>
              <a:gd name="connsiteX6" fmla="*/ 715992 w 1596219"/>
              <a:gd name="connsiteY6" fmla="*/ 1177794 h 1189223"/>
              <a:gd name="connsiteX7" fmla="*/ 473735 w 1596219"/>
              <a:gd name="connsiteY7" fmla="*/ 1189223 h 1189223"/>
              <a:gd name="connsiteX8" fmla="*/ 177489 w 1596219"/>
              <a:gd name="connsiteY8" fmla="*/ 1167370 h 1189223"/>
              <a:gd name="connsiteX9" fmla="*/ 0 w 1596219"/>
              <a:gd name="connsiteY9" fmla="*/ 1100156 h 1189223"/>
              <a:gd name="connsiteX10" fmla="*/ 320040 w 1596219"/>
              <a:gd name="connsiteY10" fmla="*/ 11430 h 1189223"/>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715992 w 1596219"/>
              <a:gd name="connsiteY6" fmla="*/ 1210867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473735 w 1596219"/>
              <a:gd name="connsiteY8" fmla="*/ 1222296 h 1222296"/>
              <a:gd name="connsiteX9" fmla="*/ 177489 w 1596219"/>
              <a:gd name="connsiteY9" fmla="*/ 1200443 h 1222296"/>
              <a:gd name="connsiteX10" fmla="*/ 0 w 1596219"/>
              <a:gd name="connsiteY10" fmla="*/ 1133229 h 1222296"/>
              <a:gd name="connsiteX11" fmla="*/ 320040 w 1596219"/>
              <a:gd name="connsiteY11"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473735 w 1596219"/>
              <a:gd name="connsiteY9" fmla="*/ 1222296 h 1222296"/>
              <a:gd name="connsiteX10" fmla="*/ 177489 w 1596219"/>
              <a:gd name="connsiteY10" fmla="*/ 1200443 h 1222296"/>
              <a:gd name="connsiteX11" fmla="*/ 0 w 1596219"/>
              <a:gd name="connsiteY11" fmla="*/ 1133229 h 1222296"/>
              <a:gd name="connsiteX12" fmla="*/ 320040 w 1596219"/>
              <a:gd name="connsiteY12"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473735 w 1596219"/>
              <a:gd name="connsiteY10" fmla="*/ 1222296 h 1222296"/>
              <a:gd name="connsiteX11" fmla="*/ 177489 w 1596219"/>
              <a:gd name="connsiteY11" fmla="*/ 1200443 h 1222296"/>
              <a:gd name="connsiteX12" fmla="*/ 0 w 1596219"/>
              <a:gd name="connsiteY12" fmla="*/ 1133229 h 1222296"/>
              <a:gd name="connsiteX13" fmla="*/ 320040 w 1596219"/>
              <a:gd name="connsiteY13"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629774 w 1596219"/>
              <a:gd name="connsiteY10" fmla="*/ 1168177 h 1222296"/>
              <a:gd name="connsiteX11" fmla="*/ 473735 w 1596219"/>
              <a:gd name="connsiteY11" fmla="*/ 1222296 h 1222296"/>
              <a:gd name="connsiteX12" fmla="*/ 177489 w 1596219"/>
              <a:gd name="connsiteY12" fmla="*/ 1200443 h 1222296"/>
              <a:gd name="connsiteX13" fmla="*/ 0 w 1596219"/>
              <a:gd name="connsiteY13" fmla="*/ 1133229 h 1222296"/>
              <a:gd name="connsiteX14" fmla="*/ 320040 w 1596219"/>
              <a:gd name="connsiteY14"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314999 w 1596219"/>
              <a:gd name="connsiteY7" fmla="*/ 885554 h 1222296"/>
              <a:gd name="connsiteX8" fmla="*/ 1196174 w 1596219"/>
              <a:gd name="connsiteY8" fmla="*/ 933660 h 1222296"/>
              <a:gd name="connsiteX9" fmla="*/ 1045662 w 1596219"/>
              <a:gd name="connsiteY9" fmla="*/ 996799 h 1222296"/>
              <a:gd name="connsiteX10" fmla="*/ 827815 w 1596219"/>
              <a:gd name="connsiteY10" fmla="*/ 1086998 h 1222296"/>
              <a:gd name="connsiteX11" fmla="*/ 629774 w 1596219"/>
              <a:gd name="connsiteY11" fmla="*/ 1168177 h 1222296"/>
              <a:gd name="connsiteX12" fmla="*/ 473735 w 1596219"/>
              <a:gd name="connsiteY12" fmla="*/ 1222296 h 1222296"/>
              <a:gd name="connsiteX13" fmla="*/ 177489 w 1596219"/>
              <a:gd name="connsiteY13" fmla="*/ 1200443 h 1222296"/>
              <a:gd name="connsiteX14" fmla="*/ 0 w 1596219"/>
              <a:gd name="connsiteY14" fmla="*/ 1133229 h 1222296"/>
              <a:gd name="connsiteX15" fmla="*/ 320040 w 1596219"/>
              <a:gd name="connsiteY15"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532845 w 1596219"/>
              <a:gd name="connsiteY6" fmla="*/ 771302 h 1222296"/>
              <a:gd name="connsiteX7" fmla="*/ 1488356 w 1596219"/>
              <a:gd name="connsiteY7" fmla="*/ 820005 h 1222296"/>
              <a:gd name="connsiteX8" fmla="*/ 1314999 w 1596219"/>
              <a:gd name="connsiteY8" fmla="*/ 885554 h 1222296"/>
              <a:gd name="connsiteX9" fmla="*/ 1196174 w 1596219"/>
              <a:gd name="connsiteY9" fmla="*/ 933660 h 1222296"/>
              <a:gd name="connsiteX10" fmla="*/ 1045662 w 1596219"/>
              <a:gd name="connsiteY10" fmla="*/ 996799 h 1222296"/>
              <a:gd name="connsiteX11" fmla="*/ 827815 w 1596219"/>
              <a:gd name="connsiteY11" fmla="*/ 1086998 h 1222296"/>
              <a:gd name="connsiteX12" fmla="*/ 629774 w 1596219"/>
              <a:gd name="connsiteY12" fmla="*/ 1168177 h 1222296"/>
              <a:gd name="connsiteX13" fmla="*/ 473735 w 1596219"/>
              <a:gd name="connsiteY13" fmla="*/ 1222296 h 1222296"/>
              <a:gd name="connsiteX14" fmla="*/ 177489 w 1596219"/>
              <a:gd name="connsiteY14" fmla="*/ 1200443 h 1222296"/>
              <a:gd name="connsiteX15" fmla="*/ 0 w 1596219"/>
              <a:gd name="connsiteY15" fmla="*/ 1133229 h 1222296"/>
              <a:gd name="connsiteX16" fmla="*/ 320040 w 1596219"/>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88356 w 1607172"/>
              <a:gd name="connsiteY7" fmla="*/ 820005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715569 w 1607172"/>
              <a:gd name="connsiteY12" fmla="*/ 1164020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00443"/>
              <a:gd name="connsiteX1" fmla="*/ 402566 w 1607172"/>
              <a:gd name="connsiteY1" fmla="*/ 57731 h 1200443"/>
              <a:gd name="connsiteX2" fmla="*/ 490700 w 1607172"/>
              <a:gd name="connsiteY2" fmla="*/ 65351 h 1200443"/>
              <a:gd name="connsiteX3" fmla="*/ 593282 w 1607172"/>
              <a:gd name="connsiteY3" fmla="*/ 50111 h 1200443"/>
              <a:gd name="connsiteX4" fmla="*/ 632260 w 1607172"/>
              <a:gd name="connsiteY4" fmla="*/ 0 h 1200443"/>
              <a:gd name="connsiteX5" fmla="*/ 1607172 w 1607172"/>
              <a:gd name="connsiteY5" fmla="*/ 691903 h 1200443"/>
              <a:gd name="connsiteX6" fmla="*/ 1532845 w 1607172"/>
              <a:gd name="connsiteY6" fmla="*/ 771302 h 1200443"/>
              <a:gd name="connsiteX7" fmla="*/ 1431768 w 1607172"/>
              <a:gd name="connsiteY7" fmla="*/ 862961 h 1200443"/>
              <a:gd name="connsiteX8" fmla="*/ 1327777 w 1607172"/>
              <a:gd name="connsiteY8" fmla="*/ 931281 h 1200443"/>
              <a:gd name="connsiteX9" fmla="*/ 1185222 w 1607172"/>
              <a:gd name="connsiteY9" fmla="*/ 1005715 h 1200443"/>
              <a:gd name="connsiteX10" fmla="*/ 1032884 w 1607172"/>
              <a:gd name="connsiteY10" fmla="*/ 1078554 h 1200443"/>
              <a:gd name="connsiteX11" fmla="*/ 895357 w 1607172"/>
              <a:gd name="connsiteY11" fmla="*/ 1121639 h 1200443"/>
              <a:gd name="connsiteX12" fmla="*/ 715569 w 1607172"/>
              <a:gd name="connsiteY12" fmla="*/ 1164020 h 1200443"/>
              <a:gd name="connsiteX13" fmla="*/ 491990 w 1607172"/>
              <a:gd name="connsiteY13" fmla="*/ 1186269 h 1200443"/>
              <a:gd name="connsiteX14" fmla="*/ 177489 w 1607172"/>
              <a:gd name="connsiteY14" fmla="*/ 1200443 h 1200443"/>
              <a:gd name="connsiteX15" fmla="*/ 0 w 1607172"/>
              <a:gd name="connsiteY15" fmla="*/ 1133229 h 1200443"/>
              <a:gd name="connsiteX16" fmla="*/ 320040 w 1607172"/>
              <a:gd name="connsiteY16" fmla="*/ 44503 h 1200443"/>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0 w 1607172"/>
              <a:gd name="connsiteY15" fmla="*/ 1133229 h 1186269"/>
              <a:gd name="connsiteX16" fmla="*/ 320040 w 1607172"/>
              <a:gd name="connsiteY16"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54128 w 1607172"/>
              <a:gd name="connsiteY15" fmla="*/ 1157249 h 1186269"/>
              <a:gd name="connsiteX16" fmla="*/ 0 w 1607172"/>
              <a:gd name="connsiteY16" fmla="*/ 1133229 h 1186269"/>
              <a:gd name="connsiteX17" fmla="*/ 320040 w 1607172"/>
              <a:gd name="connsiteY17"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43175 w 1607172"/>
              <a:gd name="connsiteY15" fmla="*/ 1173877 h 1186269"/>
              <a:gd name="connsiteX16" fmla="*/ 0 w 1607172"/>
              <a:gd name="connsiteY16" fmla="*/ 1133229 h 1186269"/>
              <a:gd name="connsiteX17" fmla="*/ 320040 w 1607172"/>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0 w 1702094"/>
              <a:gd name="connsiteY16" fmla="*/ 1126301 h 1186269"/>
              <a:gd name="connsiteX17" fmla="*/ 414962 w 1702094"/>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2492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36189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48044 w 1702094"/>
              <a:gd name="connsiteY3" fmla="*/ 16855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55588 h 1205668"/>
              <a:gd name="connsiteX1" fmla="*/ 490187 w 1702094"/>
              <a:gd name="connsiteY1" fmla="*/ 61888 h 1205668"/>
              <a:gd name="connsiteX2" fmla="*/ 581971 w 1702094"/>
              <a:gd name="connsiteY2" fmla="*/ 55651 h 1205668"/>
              <a:gd name="connsiteX3" fmla="*/ 648044 w 1702094"/>
              <a:gd name="connsiteY3" fmla="*/ 36254 h 1205668"/>
              <a:gd name="connsiteX4" fmla="*/ 727182 w 1702094"/>
              <a:gd name="connsiteY4" fmla="*/ 0 h 1205668"/>
              <a:gd name="connsiteX5" fmla="*/ 1702094 w 1702094"/>
              <a:gd name="connsiteY5" fmla="*/ 711302 h 1205668"/>
              <a:gd name="connsiteX6" fmla="*/ 1627767 w 1702094"/>
              <a:gd name="connsiteY6" fmla="*/ 790701 h 1205668"/>
              <a:gd name="connsiteX7" fmla="*/ 1526690 w 1702094"/>
              <a:gd name="connsiteY7" fmla="*/ 882360 h 1205668"/>
              <a:gd name="connsiteX8" fmla="*/ 1422699 w 1702094"/>
              <a:gd name="connsiteY8" fmla="*/ 950680 h 1205668"/>
              <a:gd name="connsiteX9" fmla="*/ 1280144 w 1702094"/>
              <a:gd name="connsiteY9" fmla="*/ 1025114 h 1205668"/>
              <a:gd name="connsiteX10" fmla="*/ 1127806 w 1702094"/>
              <a:gd name="connsiteY10" fmla="*/ 1097953 h 1205668"/>
              <a:gd name="connsiteX11" fmla="*/ 990279 w 1702094"/>
              <a:gd name="connsiteY11" fmla="*/ 1141038 h 1205668"/>
              <a:gd name="connsiteX12" fmla="*/ 810491 w 1702094"/>
              <a:gd name="connsiteY12" fmla="*/ 1183419 h 1205668"/>
              <a:gd name="connsiteX13" fmla="*/ 586912 w 1702094"/>
              <a:gd name="connsiteY13" fmla="*/ 1205668 h 1205668"/>
              <a:gd name="connsiteX14" fmla="*/ 392889 w 1702094"/>
              <a:gd name="connsiteY14" fmla="*/ 1204600 h 1205668"/>
              <a:gd name="connsiteX15" fmla="*/ 238097 w 1702094"/>
              <a:gd name="connsiteY15" fmla="*/ 1193276 h 1205668"/>
              <a:gd name="connsiteX16" fmla="*/ 101191 w 1702094"/>
              <a:gd name="connsiteY16" fmla="*/ 1171105 h 1205668"/>
              <a:gd name="connsiteX17" fmla="*/ 0 w 1702094"/>
              <a:gd name="connsiteY17" fmla="*/ 1145700 h 1205668"/>
              <a:gd name="connsiteX18" fmla="*/ 414962 w 1702094"/>
              <a:gd name="connsiteY18" fmla="*/ 55588 h 1205668"/>
              <a:gd name="connsiteX0" fmla="*/ 414962 w 1702094"/>
              <a:gd name="connsiteY0" fmla="*/ 51431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414962 w 1702094"/>
              <a:gd name="connsiteY18" fmla="*/ 51431 h 1201511"/>
              <a:gd name="connsiteX0" fmla="*/ 414962 w 1702094"/>
              <a:gd name="connsiteY0" fmla="*/ 45279 h 1195359"/>
              <a:gd name="connsiteX1" fmla="*/ 490187 w 1702094"/>
              <a:gd name="connsiteY1" fmla="*/ 51579 h 1195359"/>
              <a:gd name="connsiteX2" fmla="*/ 581971 w 1702094"/>
              <a:gd name="connsiteY2" fmla="*/ 45342 h 1195359"/>
              <a:gd name="connsiteX3" fmla="*/ 648044 w 1702094"/>
              <a:gd name="connsiteY3" fmla="*/ 25945 h 1195359"/>
              <a:gd name="connsiteX4" fmla="*/ 710140 w 1702094"/>
              <a:gd name="connsiteY4" fmla="*/ 0 h 1195359"/>
              <a:gd name="connsiteX5" fmla="*/ 1702094 w 1702094"/>
              <a:gd name="connsiteY5" fmla="*/ 700993 h 1195359"/>
              <a:gd name="connsiteX6" fmla="*/ 1627767 w 1702094"/>
              <a:gd name="connsiteY6" fmla="*/ 780392 h 1195359"/>
              <a:gd name="connsiteX7" fmla="*/ 1526690 w 1702094"/>
              <a:gd name="connsiteY7" fmla="*/ 872051 h 1195359"/>
              <a:gd name="connsiteX8" fmla="*/ 1422699 w 1702094"/>
              <a:gd name="connsiteY8" fmla="*/ 940371 h 1195359"/>
              <a:gd name="connsiteX9" fmla="*/ 1280144 w 1702094"/>
              <a:gd name="connsiteY9" fmla="*/ 1014805 h 1195359"/>
              <a:gd name="connsiteX10" fmla="*/ 1127806 w 1702094"/>
              <a:gd name="connsiteY10" fmla="*/ 1087644 h 1195359"/>
              <a:gd name="connsiteX11" fmla="*/ 990279 w 1702094"/>
              <a:gd name="connsiteY11" fmla="*/ 1130729 h 1195359"/>
              <a:gd name="connsiteX12" fmla="*/ 810491 w 1702094"/>
              <a:gd name="connsiteY12" fmla="*/ 1173110 h 1195359"/>
              <a:gd name="connsiteX13" fmla="*/ 586912 w 1702094"/>
              <a:gd name="connsiteY13" fmla="*/ 1195359 h 1195359"/>
              <a:gd name="connsiteX14" fmla="*/ 392889 w 1702094"/>
              <a:gd name="connsiteY14" fmla="*/ 1194291 h 1195359"/>
              <a:gd name="connsiteX15" fmla="*/ 238097 w 1702094"/>
              <a:gd name="connsiteY15" fmla="*/ 1182967 h 1195359"/>
              <a:gd name="connsiteX16" fmla="*/ 101191 w 1702094"/>
              <a:gd name="connsiteY16" fmla="*/ 1160796 h 1195359"/>
              <a:gd name="connsiteX17" fmla="*/ 0 w 1702094"/>
              <a:gd name="connsiteY17" fmla="*/ 1135391 h 1195359"/>
              <a:gd name="connsiteX18" fmla="*/ 414962 w 1702094"/>
              <a:gd name="connsiteY18" fmla="*/ 45279 h 1195359"/>
              <a:gd name="connsiteX0" fmla="*/ 414962 w 1768257"/>
              <a:gd name="connsiteY0" fmla="*/ 19334 h 1169414"/>
              <a:gd name="connsiteX1" fmla="*/ 490187 w 1768257"/>
              <a:gd name="connsiteY1" fmla="*/ 25634 h 1169414"/>
              <a:gd name="connsiteX2" fmla="*/ 581971 w 1768257"/>
              <a:gd name="connsiteY2" fmla="*/ 19397 h 1169414"/>
              <a:gd name="connsiteX3" fmla="*/ 648044 w 1768257"/>
              <a:gd name="connsiteY3" fmla="*/ 0 h 1169414"/>
              <a:gd name="connsiteX4" fmla="*/ 1768257 w 1768257"/>
              <a:gd name="connsiteY4" fmla="*/ 196963 h 1169414"/>
              <a:gd name="connsiteX5" fmla="*/ 1702094 w 1768257"/>
              <a:gd name="connsiteY5" fmla="*/ 675048 h 1169414"/>
              <a:gd name="connsiteX6" fmla="*/ 1627767 w 1768257"/>
              <a:gd name="connsiteY6" fmla="*/ 754447 h 1169414"/>
              <a:gd name="connsiteX7" fmla="*/ 1526690 w 1768257"/>
              <a:gd name="connsiteY7" fmla="*/ 846106 h 1169414"/>
              <a:gd name="connsiteX8" fmla="*/ 1422699 w 1768257"/>
              <a:gd name="connsiteY8" fmla="*/ 914426 h 1169414"/>
              <a:gd name="connsiteX9" fmla="*/ 1280144 w 1768257"/>
              <a:gd name="connsiteY9" fmla="*/ 988860 h 1169414"/>
              <a:gd name="connsiteX10" fmla="*/ 1127806 w 1768257"/>
              <a:gd name="connsiteY10" fmla="*/ 1061699 h 1169414"/>
              <a:gd name="connsiteX11" fmla="*/ 990279 w 1768257"/>
              <a:gd name="connsiteY11" fmla="*/ 1104784 h 1169414"/>
              <a:gd name="connsiteX12" fmla="*/ 810491 w 1768257"/>
              <a:gd name="connsiteY12" fmla="*/ 1147165 h 1169414"/>
              <a:gd name="connsiteX13" fmla="*/ 586912 w 1768257"/>
              <a:gd name="connsiteY13" fmla="*/ 1169414 h 1169414"/>
              <a:gd name="connsiteX14" fmla="*/ 392889 w 1768257"/>
              <a:gd name="connsiteY14" fmla="*/ 1168346 h 1169414"/>
              <a:gd name="connsiteX15" fmla="*/ 238097 w 1768257"/>
              <a:gd name="connsiteY15" fmla="*/ 1157022 h 1169414"/>
              <a:gd name="connsiteX16" fmla="*/ 101191 w 1768257"/>
              <a:gd name="connsiteY16" fmla="*/ 1134851 h 1169414"/>
              <a:gd name="connsiteX17" fmla="*/ 0 w 1768257"/>
              <a:gd name="connsiteY17" fmla="*/ 1109446 h 1169414"/>
              <a:gd name="connsiteX18" fmla="*/ 414962 w 1768257"/>
              <a:gd name="connsiteY18" fmla="*/ 19334 h 1169414"/>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526690 w 1768257"/>
              <a:gd name="connsiteY7" fmla="*/ 846106 h 1244292"/>
              <a:gd name="connsiteX8" fmla="*/ 1422699 w 1768257"/>
              <a:gd name="connsiteY8" fmla="*/ 914426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257307 w 1768257"/>
              <a:gd name="connsiteY7" fmla="*/ 1238498 h 1244292"/>
              <a:gd name="connsiteX8" fmla="*/ 1422699 w 1768257"/>
              <a:gd name="connsiteY8" fmla="*/ 914426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257307 w 1768257"/>
              <a:gd name="connsiteY7" fmla="*/ 1238498 h 1244292"/>
              <a:gd name="connsiteX8" fmla="*/ 1153316 w 1768257"/>
              <a:gd name="connsiteY8" fmla="*/ 1176020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68424"/>
              <a:gd name="connsiteX1" fmla="*/ 490187 w 1768257"/>
              <a:gd name="connsiteY1" fmla="*/ 25634 h 1268424"/>
              <a:gd name="connsiteX2" fmla="*/ 581971 w 1768257"/>
              <a:gd name="connsiteY2" fmla="*/ 19397 h 1268424"/>
              <a:gd name="connsiteX3" fmla="*/ 648044 w 1768257"/>
              <a:gd name="connsiteY3" fmla="*/ 0 h 1268424"/>
              <a:gd name="connsiteX4" fmla="*/ 1768257 w 1768257"/>
              <a:gd name="connsiteY4" fmla="*/ 196963 h 1268424"/>
              <a:gd name="connsiteX5" fmla="*/ 1357478 w 1768257"/>
              <a:gd name="connsiteY5" fmla="*/ 1244292 h 1268424"/>
              <a:gd name="connsiteX6" fmla="*/ 1283151 w 1768257"/>
              <a:gd name="connsiteY6" fmla="*/ 1268424 h 1268424"/>
              <a:gd name="connsiteX7" fmla="*/ 1257307 w 1768257"/>
              <a:gd name="connsiteY7" fmla="*/ 1238498 h 1268424"/>
              <a:gd name="connsiteX8" fmla="*/ 1153316 w 1768257"/>
              <a:gd name="connsiteY8" fmla="*/ 1176020 h 1268424"/>
              <a:gd name="connsiteX9" fmla="*/ 1280144 w 1768257"/>
              <a:gd name="connsiteY9" fmla="*/ 988860 h 1268424"/>
              <a:gd name="connsiteX10" fmla="*/ 1127806 w 1768257"/>
              <a:gd name="connsiteY10" fmla="*/ 1061699 h 1268424"/>
              <a:gd name="connsiteX11" fmla="*/ 990279 w 1768257"/>
              <a:gd name="connsiteY11" fmla="*/ 1104784 h 1268424"/>
              <a:gd name="connsiteX12" fmla="*/ 810491 w 1768257"/>
              <a:gd name="connsiteY12" fmla="*/ 1147165 h 1268424"/>
              <a:gd name="connsiteX13" fmla="*/ 586912 w 1768257"/>
              <a:gd name="connsiteY13" fmla="*/ 1169414 h 1268424"/>
              <a:gd name="connsiteX14" fmla="*/ 392889 w 1768257"/>
              <a:gd name="connsiteY14" fmla="*/ 1168346 h 1268424"/>
              <a:gd name="connsiteX15" fmla="*/ 238097 w 1768257"/>
              <a:gd name="connsiteY15" fmla="*/ 1157022 h 1268424"/>
              <a:gd name="connsiteX16" fmla="*/ 101191 w 1768257"/>
              <a:gd name="connsiteY16" fmla="*/ 1134851 h 1268424"/>
              <a:gd name="connsiteX17" fmla="*/ 0 w 1768257"/>
              <a:gd name="connsiteY17" fmla="*/ 1109446 h 1268424"/>
              <a:gd name="connsiteX18" fmla="*/ 414962 w 1768257"/>
              <a:gd name="connsiteY18" fmla="*/ 19334 h 1268424"/>
              <a:gd name="connsiteX0" fmla="*/ 414962 w 1768257"/>
              <a:gd name="connsiteY0" fmla="*/ 19334 h 1268424"/>
              <a:gd name="connsiteX1" fmla="*/ 490187 w 1768257"/>
              <a:gd name="connsiteY1" fmla="*/ 25634 h 1268424"/>
              <a:gd name="connsiteX2" fmla="*/ 581971 w 1768257"/>
              <a:gd name="connsiteY2" fmla="*/ 19397 h 1268424"/>
              <a:gd name="connsiteX3" fmla="*/ 648044 w 1768257"/>
              <a:gd name="connsiteY3" fmla="*/ 0 h 1268424"/>
              <a:gd name="connsiteX4" fmla="*/ 1768257 w 1768257"/>
              <a:gd name="connsiteY4" fmla="*/ 196963 h 1268424"/>
              <a:gd name="connsiteX5" fmla="*/ 1357478 w 1768257"/>
              <a:gd name="connsiteY5" fmla="*/ 1244292 h 1268424"/>
              <a:gd name="connsiteX6" fmla="*/ 1283151 w 1768257"/>
              <a:gd name="connsiteY6" fmla="*/ 1268424 h 1268424"/>
              <a:gd name="connsiteX7" fmla="*/ 1257307 w 1768257"/>
              <a:gd name="connsiteY7" fmla="*/ 1238498 h 1268424"/>
              <a:gd name="connsiteX8" fmla="*/ 1153316 w 1768257"/>
              <a:gd name="connsiteY8" fmla="*/ 1176020 h 1268424"/>
              <a:gd name="connsiteX9" fmla="*/ 1085994 w 1768257"/>
              <a:gd name="connsiteY9" fmla="*/ 1167555 h 1268424"/>
              <a:gd name="connsiteX10" fmla="*/ 1127806 w 1768257"/>
              <a:gd name="connsiteY10" fmla="*/ 1061699 h 1268424"/>
              <a:gd name="connsiteX11" fmla="*/ 990279 w 1768257"/>
              <a:gd name="connsiteY11" fmla="*/ 1104784 h 1268424"/>
              <a:gd name="connsiteX12" fmla="*/ 810491 w 1768257"/>
              <a:gd name="connsiteY12" fmla="*/ 1147165 h 1268424"/>
              <a:gd name="connsiteX13" fmla="*/ 586912 w 1768257"/>
              <a:gd name="connsiteY13" fmla="*/ 1169414 h 1268424"/>
              <a:gd name="connsiteX14" fmla="*/ 392889 w 1768257"/>
              <a:gd name="connsiteY14" fmla="*/ 1168346 h 1268424"/>
              <a:gd name="connsiteX15" fmla="*/ 238097 w 1768257"/>
              <a:gd name="connsiteY15" fmla="*/ 1157022 h 1268424"/>
              <a:gd name="connsiteX16" fmla="*/ 101191 w 1768257"/>
              <a:gd name="connsiteY16" fmla="*/ 1134851 h 1268424"/>
              <a:gd name="connsiteX17" fmla="*/ 0 w 1768257"/>
              <a:gd name="connsiteY17" fmla="*/ 1109446 h 1268424"/>
              <a:gd name="connsiteX18" fmla="*/ 414962 w 1768257"/>
              <a:gd name="connsiteY18" fmla="*/ 19334 h 1268424"/>
              <a:gd name="connsiteX0" fmla="*/ 414962 w 1768257"/>
              <a:gd name="connsiteY0" fmla="*/ 0 h 1249090"/>
              <a:gd name="connsiteX1" fmla="*/ 490187 w 1768257"/>
              <a:gd name="connsiteY1" fmla="*/ 6300 h 1249090"/>
              <a:gd name="connsiteX2" fmla="*/ 581971 w 1768257"/>
              <a:gd name="connsiteY2" fmla="*/ 63 h 1249090"/>
              <a:gd name="connsiteX3" fmla="*/ 1609086 w 1768257"/>
              <a:gd name="connsiteY3" fmla="*/ 118832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490187 w 1768257"/>
              <a:gd name="connsiteY1" fmla="*/ 6300 h 1249090"/>
              <a:gd name="connsiteX2" fmla="*/ 581971 w 1768257"/>
              <a:gd name="connsiteY2" fmla="*/ 63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490187 w 1768257"/>
              <a:gd name="connsiteY1" fmla="*/ 6300 h 1249090"/>
              <a:gd name="connsiteX2" fmla="*/ 1635234 w 1768257"/>
              <a:gd name="connsiteY2" fmla="*/ 127176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1616256 w 1768257"/>
              <a:gd name="connsiteY1" fmla="*/ 118675 h 1249090"/>
              <a:gd name="connsiteX2" fmla="*/ 1635234 w 1768257"/>
              <a:gd name="connsiteY2" fmla="*/ 127176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1555592 w 1768257"/>
              <a:gd name="connsiteY0" fmla="*/ 0 h 1168033"/>
              <a:gd name="connsiteX1" fmla="*/ 1616256 w 1768257"/>
              <a:gd name="connsiteY1" fmla="*/ 37618 h 1168033"/>
              <a:gd name="connsiteX2" fmla="*/ 1635234 w 1768257"/>
              <a:gd name="connsiteY2" fmla="*/ 46119 h 1168033"/>
              <a:gd name="connsiteX3" fmla="*/ 1696453 w 1768257"/>
              <a:gd name="connsiteY3" fmla="*/ 80146 h 1168033"/>
              <a:gd name="connsiteX4" fmla="*/ 1768257 w 1768257"/>
              <a:gd name="connsiteY4" fmla="*/ 96572 h 1168033"/>
              <a:gd name="connsiteX5" fmla="*/ 1357478 w 1768257"/>
              <a:gd name="connsiteY5" fmla="*/ 1143901 h 1168033"/>
              <a:gd name="connsiteX6" fmla="*/ 1283151 w 1768257"/>
              <a:gd name="connsiteY6" fmla="*/ 1168033 h 1168033"/>
              <a:gd name="connsiteX7" fmla="*/ 1257307 w 1768257"/>
              <a:gd name="connsiteY7" fmla="*/ 1138107 h 1168033"/>
              <a:gd name="connsiteX8" fmla="*/ 1153316 w 1768257"/>
              <a:gd name="connsiteY8" fmla="*/ 1075629 h 1168033"/>
              <a:gd name="connsiteX9" fmla="*/ 1085994 w 1768257"/>
              <a:gd name="connsiteY9" fmla="*/ 1067164 h 1168033"/>
              <a:gd name="connsiteX10" fmla="*/ 1127806 w 1768257"/>
              <a:gd name="connsiteY10" fmla="*/ 961308 h 1168033"/>
              <a:gd name="connsiteX11" fmla="*/ 990279 w 1768257"/>
              <a:gd name="connsiteY11" fmla="*/ 1004393 h 1168033"/>
              <a:gd name="connsiteX12" fmla="*/ 810491 w 1768257"/>
              <a:gd name="connsiteY12" fmla="*/ 1046774 h 1168033"/>
              <a:gd name="connsiteX13" fmla="*/ 586912 w 1768257"/>
              <a:gd name="connsiteY13" fmla="*/ 1069023 h 1168033"/>
              <a:gd name="connsiteX14" fmla="*/ 392889 w 1768257"/>
              <a:gd name="connsiteY14" fmla="*/ 1067955 h 1168033"/>
              <a:gd name="connsiteX15" fmla="*/ 238097 w 1768257"/>
              <a:gd name="connsiteY15" fmla="*/ 1056631 h 1168033"/>
              <a:gd name="connsiteX16" fmla="*/ 101191 w 1768257"/>
              <a:gd name="connsiteY16" fmla="*/ 1034460 h 1168033"/>
              <a:gd name="connsiteX17" fmla="*/ 0 w 1768257"/>
              <a:gd name="connsiteY17" fmla="*/ 1009055 h 1168033"/>
              <a:gd name="connsiteX18" fmla="*/ 1555592 w 1768257"/>
              <a:gd name="connsiteY18" fmla="*/ 0 h 1168033"/>
              <a:gd name="connsiteX0" fmla="*/ 1454401 w 1667066"/>
              <a:gd name="connsiteY0" fmla="*/ 0 h 1168033"/>
              <a:gd name="connsiteX1" fmla="*/ 1515065 w 1667066"/>
              <a:gd name="connsiteY1" fmla="*/ 37618 h 1168033"/>
              <a:gd name="connsiteX2" fmla="*/ 1534043 w 1667066"/>
              <a:gd name="connsiteY2" fmla="*/ 46119 h 1168033"/>
              <a:gd name="connsiteX3" fmla="*/ 1595262 w 1667066"/>
              <a:gd name="connsiteY3" fmla="*/ 80146 h 1168033"/>
              <a:gd name="connsiteX4" fmla="*/ 1667066 w 1667066"/>
              <a:gd name="connsiteY4" fmla="*/ 96572 h 1168033"/>
              <a:gd name="connsiteX5" fmla="*/ 1256287 w 1667066"/>
              <a:gd name="connsiteY5" fmla="*/ 1143901 h 1168033"/>
              <a:gd name="connsiteX6" fmla="*/ 1181960 w 1667066"/>
              <a:gd name="connsiteY6" fmla="*/ 1168033 h 1168033"/>
              <a:gd name="connsiteX7" fmla="*/ 1156116 w 1667066"/>
              <a:gd name="connsiteY7" fmla="*/ 1138107 h 1168033"/>
              <a:gd name="connsiteX8" fmla="*/ 1052125 w 1667066"/>
              <a:gd name="connsiteY8" fmla="*/ 1075629 h 1168033"/>
              <a:gd name="connsiteX9" fmla="*/ 984803 w 1667066"/>
              <a:gd name="connsiteY9" fmla="*/ 1067164 h 1168033"/>
              <a:gd name="connsiteX10" fmla="*/ 1026615 w 1667066"/>
              <a:gd name="connsiteY10" fmla="*/ 961308 h 1168033"/>
              <a:gd name="connsiteX11" fmla="*/ 889088 w 1667066"/>
              <a:gd name="connsiteY11" fmla="*/ 1004393 h 1168033"/>
              <a:gd name="connsiteX12" fmla="*/ 709300 w 1667066"/>
              <a:gd name="connsiteY12" fmla="*/ 1046774 h 1168033"/>
              <a:gd name="connsiteX13" fmla="*/ 485721 w 1667066"/>
              <a:gd name="connsiteY13" fmla="*/ 1069023 h 1168033"/>
              <a:gd name="connsiteX14" fmla="*/ 291698 w 1667066"/>
              <a:gd name="connsiteY14" fmla="*/ 1067955 h 1168033"/>
              <a:gd name="connsiteX15" fmla="*/ 136906 w 1667066"/>
              <a:gd name="connsiteY15" fmla="*/ 1056631 h 1168033"/>
              <a:gd name="connsiteX16" fmla="*/ 0 w 1667066"/>
              <a:gd name="connsiteY16" fmla="*/ 1034460 h 1168033"/>
              <a:gd name="connsiteX17" fmla="*/ 403599 w 1667066"/>
              <a:gd name="connsiteY17" fmla="*/ 603768 h 1168033"/>
              <a:gd name="connsiteX18" fmla="*/ 1454401 w 1667066"/>
              <a:gd name="connsiteY18" fmla="*/ 0 h 1168033"/>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56116 w 1667066"/>
              <a:gd name="connsiteY7" fmla="*/ 1138107 h 1183350"/>
              <a:gd name="connsiteX8" fmla="*/ 1052125 w 1667066"/>
              <a:gd name="connsiteY8" fmla="*/ 1075629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52125 w 1667066"/>
              <a:gd name="connsiteY8" fmla="*/ 1075629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674623 w 1667066"/>
              <a:gd name="connsiteY14" fmla="*/ 910161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674623 w 1667066"/>
              <a:gd name="connsiteY14" fmla="*/ 910161 h 1183350"/>
              <a:gd name="connsiteX15" fmla="*/ 544447 w 1667066"/>
              <a:gd name="connsiteY15" fmla="*/ 799177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40848 w 1263467"/>
              <a:gd name="connsiteY15" fmla="*/ 799177 h 1183350"/>
              <a:gd name="connsiteX16" fmla="*/ 90100 w 1263467"/>
              <a:gd name="connsiteY16" fmla="*/ 753129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90100 w 1263467"/>
              <a:gd name="connsiteY16" fmla="*/ 753129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63018 w 1263467"/>
              <a:gd name="connsiteY17" fmla="*/ 696562 h 1183350"/>
              <a:gd name="connsiteX18" fmla="*/ 0 w 1263467"/>
              <a:gd name="connsiteY18" fmla="*/ 603768 h 1183350"/>
              <a:gd name="connsiteX19" fmla="*/ 1050802 w 1263467"/>
              <a:gd name="connsiteY19"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63018 w 1263467"/>
              <a:gd name="connsiteY17" fmla="*/ 696562 h 1183350"/>
              <a:gd name="connsiteX18" fmla="*/ 26093 w 1263467"/>
              <a:gd name="connsiteY18" fmla="*/ 647770 h 1183350"/>
              <a:gd name="connsiteX19" fmla="*/ 0 w 1263467"/>
              <a:gd name="connsiteY19" fmla="*/ 603768 h 1183350"/>
              <a:gd name="connsiteX20" fmla="*/ 1050802 w 1263467"/>
              <a:gd name="connsiteY20"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94472 w 1263467"/>
              <a:gd name="connsiteY17" fmla="*/ 741201 h 1183350"/>
              <a:gd name="connsiteX18" fmla="*/ 63018 w 1263467"/>
              <a:gd name="connsiteY18" fmla="*/ 696562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63018 w 1263467"/>
              <a:gd name="connsiteY18" fmla="*/ 696562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47975 w 1263467"/>
              <a:gd name="connsiteY18" fmla="*/ 697600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47975 w 1263467"/>
              <a:gd name="connsiteY18" fmla="*/ 697600 h 1183350"/>
              <a:gd name="connsiteX19" fmla="*/ 9682 w 1263467"/>
              <a:gd name="connsiteY19" fmla="*/ 646732 h 1183350"/>
              <a:gd name="connsiteX20" fmla="*/ 0 w 1263467"/>
              <a:gd name="connsiteY20" fmla="*/ 603768 h 1183350"/>
              <a:gd name="connsiteX21" fmla="*/ 1050802 w 1263467"/>
              <a:gd name="connsiteY21" fmla="*/ 0 h 1183350"/>
              <a:gd name="connsiteX0" fmla="*/ 1060375 w 1273040"/>
              <a:gd name="connsiteY0" fmla="*/ 0 h 1183350"/>
              <a:gd name="connsiteX1" fmla="*/ 1121039 w 1273040"/>
              <a:gd name="connsiteY1" fmla="*/ 37618 h 1183350"/>
              <a:gd name="connsiteX2" fmla="*/ 1140017 w 1273040"/>
              <a:gd name="connsiteY2" fmla="*/ 46119 h 1183350"/>
              <a:gd name="connsiteX3" fmla="*/ 1201236 w 1273040"/>
              <a:gd name="connsiteY3" fmla="*/ 80146 h 1183350"/>
              <a:gd name="connsiteX4" fmla="*/ 1273040 w 1273040"/>
              <a:gd name="connsiteY4" fmla="*/ 96572 h 1183350"/>
              <a:gd name="connsiteX5" fmla="*/ 862261 w 1273040"/>
              <a:gd name="connsiteY5" fmla="*/ 1183350 h 1183350"/>
              <a:gd name="connsiteX6" fmla="*/ 787934 w 1273040"/>
              <a:gd name="connsiteY6" fmla="*/ 1168033 h 1183350"/>
              <a:gd name="connsiteX7" fmla="*/ 733371 w 1273040"/>
              <a:gd name="connsiteY7" fmla="*/ 1148488 h 1183350"/>
              <a:gd name="connsiteX8" fmla="*/ 645791 w 1273040"/>
              <a:gd name="connsiteY8" fmla="*/ 1116115 h 1183350"/>
              <a:gd name="connsiteX9" fmla="*/ 577101 w 1273040"/>
              <a:gd name="connsiteY9" fmla="*/ 1083774 h 1183350"/>
              <a:gd name="connsiteX10" fmla="*/ 523182 w 1273040"/>
              <a:gd name="connsiteY10" fmla="*/ 1063044 h 1183350"/>
              <a:gd name="connsiteX11" fmla="*/ 458137 w 1273040"/>
              <a:gd name="connsiteY11" fmla="*/ 1029308 h 1183350"/>
              <a:gd name="connsiteX12" fmla="*/ 394594 w 1273040"/>
              <a:gd name="connsiteY12" fmla="*/ 991754 h 1183350"/>
              <a:gd name="connsiteX13" fmla="*/ 340595 w 1273040"/>
              <a:gd name="connsiteY13" fmla="*/ 954830 h 1183350"/>
              <a:gd name="connsiteX14" fmla="*/ 280597 w 1273040"/>
              <a:gd name="connsiteY14" fmla="*/ 910161 h 1183350"/>
              <a:gd name="connsiteX15" fmla="*/ 191449 w 1273040"/>
              <a:gd name="connsiteY15" fmla="*/ 839664 h 1183350"/>
              <a:gd name="connsiteX16" fmla="*/ 135230 w 1273040"/>
              <a:gd name="connsiteY16" fmla="*/ 788425 h 1183350"/>
              <a:gd name="connsiteX17" fmla="*/ 93104 w 1273040"/>
              <a:gd name="connsiteY17" fmla="*/ 742239 h 1183350"/>
              <a:gd name="connsiteX18" fmla="*/ 57548 w 1273040"/>
              <a:gd name="connsiteY18" fmla="*/ 697600 h 1183350"/>
              <a:gd name="connsiteX19" fmla="*/ 19255 w 1273040"/>
              <a:gd name="connsiteY19" fmla="*/ 646732 h 1183350"/>
              <a:gd name="connsiteX20" fmla="*/ 0 w 1273040"/>
              <a:gd name="connsiteY20" fmla="*/ 612073 h 1183350"/>
              <a:gd name="connsiteX21" fmla="*/ 1060375 w 1273040"/>
              <a:gd name="connsiteY21" fmla="*/ 0 h 1183350"/>
              <a:gd name="connsiteX0" fmla="*/ 1065845 w 1278510"/>
              <a:gd name="connsiteY0" fmla="*/ 0 h 1183350"/>
              <a:gd name="connsiteX1" fmla="*/ 1126509 w 1278510"/>
              <a:gd name="connsiteY1" fmla="*/ 37618 h 1183350"/>
              <a:gd name="connsiteX2" fmla="*/ 1145487 w 1278510"/>
              <a:gd name="connsiteY2" fmla="*/ 46119 h 1183350"/>
              <a:gd name="connsiteX3" fmla="*/ 1206706 w 1278510"/>
              <a:gd name="connsiteY3" fmla="*/ 80146 h 1183350"/>
              <a:gd name="connsiteX4" fmla="*/ 1278510 w 1278510"/>
              <a:gd name="connsiteY4" fmla="*/ 96572 h 1183350"/>
              <a:gd name="connsiteX5" fmla="*/ 867731 w 1278510"/>
              <a:gd name="connsiteY5" fmla="*/ 1183350 h 1183350"/>
              <a:gd name="connsiteX6" fmla="*/ 793404 w 1278510"/>
              <a:gd name="connsiteY6" fmla="*/ 1168033 h 1183350"/>
              <a:gd name="connsiteX7" fmla="*/ 738841 w 1278510"/>
              <a:gd name="connsiteY7" fmla="*/ 1148488 h 1183350"/>
              <a:gd name="connsiteX8" fmla="*/ 651261 w 1278510"/>
              <a:gd name="connsiteY8" fmla="*/ 1116115 h 1183350"/>
              <a:gd name="connsiteX9" fmla="*/ 582571 w 1278510"/>
              <a:gd name="connsiteY9" fmla="*/ 1083774 h 1183350"/>
              <a:gd name="connsiteX10" fmla="*/ 528652 w 1278510"/>
              <a:gd name="connsiteY10" fmla="*/ 1063044 h 1183350"/>
              <a:gd name="connsiteX11" fmla="*/ 463607 w 1278510"/>
              <a:gd name="connsiteY11" fmla="*/ 1029308 h 1183350"/>
              <a:gd name="connsiteX12" fmla="*/ 400064 w 1278510"/>
              <a:gd name="connsiteY12" fmla="*/ 991754 h 1183350"/>
              <a:gd name="connsiteX13" fmla="*/ 346065 w 1278510"/>
              <a:gd name="connsiteY13" fmla="*/ 954830 h 1183350"/>
              <a:gd name="connsiteX14" fmla="*/ 286067 w 1278510"/>
              <a:gd name="connsiteY14" fmla="*/ 910161 h 1183350"/>
              <a:gd name="connsiteX15" fmla="*/ 196919 w 1278510"/>
              <a:gd name="connsiteY15" fmla="*/ 839664 h 1183350"/>
              <a:gd name="connsiteX16" fmla="*/ 140700 w 1278510"/>
              <a:gd name="connsiteY16" fmla="*/ 788425 h 1183350"/>
              <a:gd name="connsiteX17" fmla="*/ 98574 w 1278510"/>
              <a:gd name="connsiteY17" fmla="*/ 742239 h 1183350"/>
              <a:gd name="connsiteX18" fmla="*/ 63018 w 1278510"/>
              <a:gd name="connsiteY18" fmla="*/ 697600 h 1183350"/>
              <a:gd name="connsiteX19" fmla="*/ 24725 w 1278510"/>
              <a:gd name="connsiteY19" fmla="*/ 646732 h 1183350"/>
              <a:gd name="connsiteX20" fmla="*/ 0 w 1278510"/>
              <a:gd name="connsiteY20" fmla="*/ 607921 h 1183350"/>
              <a:gd name="connsiteX21" fmla="*/ 1065845 w 1278510"/>
              <a:gd name="connsiteY21" fmla="*/ 0 h 1183350"/>
              <a:gd name="connsiteX0" fmla="*/ 1065845 w 1283980"/>
              <a:gd name="connsiteY0" fmla="*/ 0 h 1183350"/>
              <a:gd name="connsiteX1" fmla="*/ 1126509 w 1283980"/>
              <a:gd name="connsiteY1" fmla="*/ 37618 h 1183350"/>
              <a:gd name="connsiteX2" fmla="*/ 1145487 w 1283980"/>
              <a:gd name="connsiteY2" fmla="*/ 46119 h 1183350"/>
              <a:gd name="connsiteX3" fmla="*/ 1206706 w 1283980"/>
              <a:gd name="connsiteY3" fmla="*/ 80146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26509 w 1283980"/>
              <a:gd name="connsiteY1" fmla="*/ 37618 h 1183350"/>
              <a:gd name="connsiteX2" fmla="*/ 1145487 w 1283980"/>
              <a:gd name="connsiteY2" fmla="*/ 46119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26509 w 1283980"/>
              <a:gd name="connsiteY1" fmla="*/ 37618 h 1183350"/>
              <a:gd name="connsiteX2" fmla="*/ 1161898 w 1283980"/>
              <a:gd name="connsiteY2" fmla="*/ 51310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11465 w 1283980"/>
              <a:gd name="connsiteY1" fmla="*/ 27237 h 1183350"/>
              <a:gd name="connsiteX2" fmla="*/ 1161898 w 1283980"/>
              <a:gd name="connsiteY2" fmla="*/ 51310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71315 w 1283980"/>
              <a:gd name="connsiteY0" fmla="*/ 0 h 1184388"/>
              <a:gd name="connsiteX1" fmla="*/ 1111465 w 1283980"/>
              <a:gd name="connsiteY1" fmla="*/ 28275 h 1184388"/>
              <a:gd name="connsiteX2" fmla="*/ 1161898 w 1283980"/>
              <a:gd name="connsiteY2" fmla="*/ 52348 h 1184388"/>
              <a:gd name="connsiteX3" fmla="*/ 1214912 w 1283980"/>
              <a:gd name="connsiteY3" fmla="*/ 75993 h 1184388"/>
              <a:gd name="connsiteX4" fmla="*/ 1283980 w 1283980"/>
              <a:gd name="connsiteY4" fmla="*/ 92419 h 1184388"/>
              <a:gd name="connsiteX5" fmla="*/ 867731 w 1283980"/>
              <a:gd name="connsiteY5" fmla="*/ 1184388 h 1184388"/>
              <a:gd name="connsiteX6" fmla="*/ 793404 w 1283980"/>
              <a:gd name="connsiteY6" fmla="*/ 1169071 h 1184388"/>
              <a:gd name="connsiteX7" fmla="*/ 738841 w 1283980"/>
              <a:gd name="connsiteY7" fmla="*/ 1149526 h 1184388"/>
              <a:gd name="connsiteX8" fmla="*/ 651261 w 1283980"/>
              <a:gd name="connsiteY8" fmla="*/ 1117153 h 1184388"/>
              <a:gd name="connsiteX9" fmla="*/ 582571 w 1283980"/>
              <a:gd name="connsiteY9" fmla="*/ 1084812 h 1184388"/>
              <a:gd name="connsiteX10" fmla="*/ 528652 w 1283980"/>
              <a:gd name="connsiteY10" fmla="*/ 1064082 h 1184388"/>
              <a:gd name="connsiteX11" fmla="*/ 463607 w 1283980"/>
              <a:gd name="connsiteY11" fmla="*/ 1030346 h 1184388"/>
              <a:gd name="connsiteX12" fmla="*/ 400064 w 1283980"/>
              <a:gd name="connsiteY12" fmla="*/ 992792 h 1184388"/>
              <a:gd name="connsiteX13" fmla="*/ 346065 w 1283980"/>
              <a:gd name="connsiteY13" fmla="*/ 955868 h 1184388"/>
              <a:gd name="connsiteX14" fmla="*/ 286067 w 1283980"/>
              <a:gd name="connsiteY14" fmla="*/ 911199 h 1184388"/>
              <a:gd name="connsiteX15" fmla="*/ 196919 w 1283980"/>
              <a:gd name="connsiteY15" fmla="*/ 840702 h 1184388"/>
              <a:gd name="connsiteX16" fmla="*/ 140700 w 1283980"/>
              <a:gd name="connsiteY16" fmla="*/ 789463 h 1184388"/>
              <a:gd name="connsiteX17" fmla="*/ 98574 w 1283980"/>
              <a:gd name="connsiteY17" fmla="*/ 743277 h 1184388"/>
              <a:gd name="connsiteX18" fmla="*/ 63018 w 1283980"/>
              <a:gd name="connsiteY18" fmla="*/ 698638 h 1184388"/>
              <a:gd name="connsiteX19" fmla="*/ 24725 w 1283980"/>
              <a:gd name="connsiteY19" fmla="*/ 647770 h 1184388"/>
              <a:gd name="connsiteX20" fmla="*/ 0 w 1283980"/>
              <a:gd name="connsiteY20" fmla="*/ 608959 h 1184388"/>
              <a:gd name="connsiteX21" fmla="*/ 1071315 w 1283980"/>
              <a:gd name="connsiteY21" fmla="*/ 0 h 118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83980" h="1184388">
                <a:moveTo>
                  <a:pt x="1071315" y="0"/>
                </a:moveTo>
                <a:lnTo>
                  <a:pt x="1111465" y="28275"/>
                </a:lnTo>
                <a:lnTo>
                  <a:pt x="1161898" y="52348"/>
                </a:lnTo>
                <a:lnTo>
                  <a:pt x="1214912" y="75993"/>
                </a:lnTo>
                <a:lnTo>
                  <a:pt x="1283980" y="92419"/>
                </a:lnTo>
                <a:lnTo>
                  <a:pt x="867731" y="1184388"/>
                </a:lnTo>
                <a:lnTo>
                  <a:pt x="793404" y="1169071"/>
                </a:lnTo>
                <a:lnTo>
                  <a:pt x="738841" y="1149526"/>
                </a:lnTo>
                <a:lnTo>
                  <a:pt x="651261" y="1117153"/>
                </a:lnTo>
                <a:lnTo>
                  <a:pt x="582571" y="1084812"/>
                </a:lnTo>
                <a:lnTo>
                  <a:pt x="528652" y="1064082"/>
                </a:lnTo>
                <a:lnTo>
                  <a:pt x="463607" y="1030346"/>
                </a:lnTo>
                <a:lnTo>
                  <a:pt x="400064" y="992792"/>
                </a:lnTo>
                <a:lnTo>
                  <a:pt x="346065" y="955868"/>
                </a:lnTo>
                <a:lnTo>
                  <a:pt x="286067" y="911199"/>
                </a:lnTo>
                <a:lnTo>
                  <a:pt x="196919" y="840702"/>
                </a:lnTo>
                <a:lnTo>
                  <a:pt x="140700" y="789463"/>
                </a:lnTo>
                <a:lnTo>
                  <a:pt x="98574" y="743277"/>
                </a:lnTo>
                <a:lnTo>
                  <a:pt x="63018" y="698638"/>
                </a:lnTo>
                <a:lnTo>
                  <a:pt x="24725" y="647770"/>
                </a:lnTo>
                <a:lnTo>
                  <a:pt x="0" y="608959"/>
                </a:lnTo>
                <a:lnTo>
                  <a:pt x="1071315" y="0"/>
                </a:lnTo>
                <a:close/>
              </a:path>
            </a:pathLst>
          </a:custGeom>
          <a:solidFill>
            <a:srgbClr val="F7CB00">
              <a:alpha val="50000"/>
            </a:srgbClr>
          </a:solidFill>
          <a:ln w="9525" cap="flat" cmpd="sng" algn="ctr">
            <a:solidFill>
              <a:srgbClr val="F7CB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nvGrpSpPr>
          <p:cNvPr id="41" name="Group 1005"/>
          <p:cNvGrpSpPr/>
          <p:nvPr>
            <p:custDataLst>
              <p:tags r:id="rId11"/>
            </p:custDataLst>
          </p:nvPr>
        </p:nvGrpSpPr>
        <p:grpSpPr>
          <a:xfrm>
            <a:off x="5884875" y="5877943"/>
            <a:ext cx="2006600" cy="406400"/>
            <a:chOff x="5884875" y="5877943"/>
            <a:chExt cx="2006600" cy="406400"/>
          </a:xfrm>
        </p:grpSpPr>
        <p:sp>
          <p:nvSpPr>
            <p:cNvPr id="1007" name="Rectangle 5"/>
            <p:cNvSpPr>
              <a:spLocks noChangeArrowheads="1"/>
            </p:cNvSpPr>
            <p:nvPr>
              <p:custDataLst>
                <p:tags r:id="rId95"/>
              </p:custDataLst>
            </p:nvPr>
          </p:nvSpPr>
          <p:spPr bwMode="gray">
            <a:xfrm>
              <a:off x="5922147" y="5925836"/>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ENABLING PARTNER ENVIRONMENT</a:t>
              </a:r>
            </a:p>
          </p:txBody>
        </p:sp>
        <p:sp>
          <p:nvSpPr>
            <p:cNvPr id="1008" name="Rounded Rectangle 1007"/>
            <p:cNvSpPr/>
            <p:nvPr>
              <p:custDataLst>
                <p:tags r:id="rId96"/>
              </p:custDataLst>
            </p:nvPr>
          </p:nvSpPr>
          <p:spPr>
            <a:xfrm>
              <a:off x="5884875" y="5877943"/>
              <a:ext cx="2006600" cy="406400"/>
            </a:xfrm>
            <a:prstGeom prst="roundRect">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93006" tIns="91546" rIns="93006"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smtClean="0">
                  <a:solidFill>
                    <a:srgbClr val="FFFFFF"/>
                  </a:solidFill>
                </a:rPr>
                <a:t>Enabling partner environment</a:t>
              </a:r>
            </a:p>
          </p:txBody>
        </p:sp>
      </p:grpSp>
      <p:sp>
        <p:nvSpPr>
          <p:cNvPr id="1009" name="Freeform 1008"/>
          <p:cNvSpPr/>
          <p:nvPr>
            <p:custDataLst>
              <p:tags r:id="rId12"/>
            </p:custDataLst>
          </p:nvPr>
        </p:nvSpPr>
        <p:spPr bwMode="gray">
          <a:xfrm>
            <a:off x="1393234" y="1215221"/>
            <a:ext cx="2856708" cy="3297673"/>
          </a:xfrm>
          <a:custGeom>
            <a:avLst/>
            <a:gdLst>
              <a:gd name="connsiteX0" fmla="*/ 0 w 923027"/>
              <a:gd name="connsiteY0" fmla="*/ 0 h 1069676"/>
              <a:gd name="connsiteX1" fmla="*/ 923027 w 923027"/>
              <a:gd name="connsiteY1" fmla="*/ 0 h 1069676"/>
              <a:gd name="connsiteX2" fmla="*/ 923027 w 923027"/>
              <a:gd name="connsiteY2" fmla="*/ 1069676 h 1069676"/>
              <a:gd name="connsiteX3" fmla="*/ 0 w 923027"/>
              <a:gd name="connsiteY3" fmla="*/ 1069676 h 1069676"/>
              <a:gd name="connsiteX4" fmla="*/ 0 w 923027"/>
              <a:gd name="connsiteY4" fmla="*/ 0 h 1069676"/>
              <a:gd name="connsiteX0" fmla="*/ 0 w 923027"/>
              <a:gd name="connsiteY0" fmla="*/ 17252 h 1086928"/>
              <a:gd name="connsiteX1" fmla="*/ 483080 w 923027"/>
              <a:gd name="connsiteY1" fmla="*/ 0 h 1086928"/>
              <a:gd name="connsiteX2" fmla="*/ 923027 w 923027"/>
              <a:gd name="connsiteY2" fmla="*/ 17252 h 1086928"/>
              <a:gd name="connsiteX3" fmla="*/ 923027 w 923027"/>
              <a:gd name="connsiteY3" fmla="*/ 1086928 h 1086928"/>
              <a:gd name="connsiteX4" fmla="*/ 0 w 923027"/>
              <a:gd name="connsiteY4" fmla="*/ 1086928 h 1086928"/>
              <a:gd name="connsiteX5" fmla="*/ 0 w 923027"/>
              <a:gd name="connsiteY5" fmla="*/ 17252 h 1086928"/>
              <a:gd name="connsiteX0" fmla="*/ 0 w 923027"/>
              <a:gd name="connsiteY0" fmla="*/ 17252 h 1086928"/>
              <a:gd name="connsiteX1" fmla="*/ 483080 w 923027"/>
              <a:gd name="connsiteY1" fmla="*/ 0 h 1086928"/>
              <a:gd name="connsiteX2" fmla="*/ 741872 w 923027"/>
              <a:gd name="connsiteY2" fmla="*/ 0 h 1086928"/>
              <a:gd name="connsiteX3" fmla="*/ 923027 w 923027"/>
              <a:gd name="connsiteY3" fmla="*/ 17252 h 1086928"/>
              <a:gd name="connsiteX4" fmla="*/ 923027 w 923027"/>
              <a:gd name="connsiteY4" fmla="*/ 1086928 h 1086928"/>
              <a:gd name="connsiteX5" fmla="*/ 0 w 923027"/>
              <a:gd name="connsiteY5" fmla="*/ 1086928 h 1086928"/>
              <a:gd name="connsiteX6" fmla="*/ 0 w 923027"/>
              <a:gd name="connsiteY6"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0 w 923027"/>
              <a:gd name="connsiteY6" fmla="*/ 1086928 h 1086928"/>
              <a:gd name="connsiteX7" fmla="*/ 0 w 923027"/>
              <a:gd name="connsiteY7"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0 w 923027"/>
              <a:gd name="connsiteY7" fmla="*/ 1086928 h 1086928"/>
              <a:gd name="connsiteX8" fmla="*/ 0 w 923027"/>
              <a:gd name="connsiteY8"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500332 w 923027"/>
              <a:gd name="connsiteY7" fmla="*/ 1078301 h 1086928"/>
              <a:gd name="connsiteX8" fmla="*/ 0 w 923027"/>
              <a:gd name="connsiteY8" fmla="*/ 1086928 h 1086928"/>
              <a:gd name="connsiteX9" fmla="*/ 0 w 923027"/>
              <a:gd name="connsiteY9"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707366 w 923027"/>
              <a:gd name="connsiteY6" fmla="*/ 1086928 h 1086928"/>
              <a:gd name="connsiteX7" fmla="*/ 241540 w 923027"/>
              <a:gd name="connsiteY7" fmla="*/ 1078301 h 1086928"/>
              <a:gd name="connsiteX8" fmla="*/ 500332 w 923027"/>
              <a:gd name="connsiteY8" fmla="*/ 1078301 h 1086928"/>
              <a:gd name="connsiteX9" fmla="*/ 0 w 923027"/>
              <a:gd name="connsiteY9" fmla="*/ 1086928 h 1086928"/>
              <a:gd name="connsiteX10" fmla="*/ 0 w 923027"/>
              <a:gd name="connsiteY10" fmla="*/ 17252 h 1086928"/>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241540 w 923027"/>
              <a:gd name="connsiteY7" fmla="*/ 1078301 h 1164566"/>
              <a:gd name="connsiteX8" fmla="*/ 500332 w 923027"/>
              <a:gd name="connsiteY8" fmla="*/ 1078301 h 1164566"/>
              <a:gd name="connsiteX9" fmla="*/ 0 w 923027"/>
              <a:gd name="connsiteY9" fmla="*/ 1086928 h 1164566"/>
              <a:gd name="connsiteX10" fmla="*/ 0 w 923027"/>
              <a:gd name="connsiteY10" fmla="*/ 17252 h 1164566"/>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41540 w 923027"/>
              <a:gd name="connsiteY7" fmla="*/ 1078301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07035 w 923027"/>
              <a:gd name="connsiteY7" fmla="*/ 116456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527075 w 923027"/>
              <a:gd name="connsiteY7" fmla="*/ 106169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527075 w 923027"/>
              <a:gd name="connsiteY7" fmla="*/ 1061695 h 1164566"/>
              <a:gd name="connsiteX8" fmla="*/ 253689 w 923027"/>
              <a:gd name="connsiteY8" fmla="*/ 1161762 h 1164566"/>
              <a:gd name="connsiteX9" fmla="*/ 0 w 923027"/>
              <a:gd name="connsiteY9" fmla="*/ 1086928 h 1164566"/>
              <a:gd name="connsiteX10" fmla="*/ 0 w 923027"/>
              <a:gd name="connsiteY10" fmla="*/ 17252 h 1164566"/>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253689 w 923027"/>
              <a:gd name="connsiteY8" fmla="*/ 116176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7373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6837"/>
              <a:gd name="connsiteY0" fmla="*/ 17252 h 1175995"/>
              <a:gd name="connsiteX1" fmla="*/ 250166 w 926837"/>
              <a:gd name="connsiteY1" fmla="*/ 0 h 1175995"/>
              <a:gd name="connsiteX2" fmla="*/ 483080 w 926837"/>
              <a:gd name="connsiteY2" fmla="*/ 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593282 w 926837"/>
              <a:gd name="connsiteY3" fmla="*/ 381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30480 h 1189223"/>
              <a:gd name="connsiteX1" fmla="*/ 250166 w 926837"/>
              <a:gd name="connsiteY1" fmla="*/ 1322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0 w 926837"/>
              <a:gd name="connsiteY0" fmla="*/ 3048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312420 w 926837"/>
              <a:gd name="connsiteY0" fmla="*/ 2286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12420 w 926837"/>
              <a:gd name="connsiteY0" fmla="*/ 2286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20040 w 926837"/>
              <a:gd name="connsiteY0" fmla="*/ 1143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926837"/>
              <a:gd name="connsiteY0" fmla="*/ 11430 h 1189223"/>
              <a:gd name="connsiteX1" fmla="*/ 402566 w 926837"/>
              <a:gd name="connsiteY1" fmla="*/ 24658 h 1189223"/>
              <a:gd name="connsiteX2" fmla="*/ 49070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1596219"/>
              <a:gd name="connsiteY0" fmla="*/ 11430 h 1189223"/>
              <a:gd name="connsiteX1" fmla="*/ 402566 w 1596219"/>
              <a:gd name="connsiteY1" fmla="*/ 24658 h 1189223"/>
              <a:gd name="connsiteX2" fmla="*/ 490700 w 1596219"/>
              <a:gd name="connsiteY2" fmla="*/ 32278 h 1189223"/>
              <a:gd name="connsiteX3" fmla="*/ 593282 w 1596219"/>
              <a:gd name="connsiteY3" fmla="*/ 17038 h 1189223"/>
              <a:gd name="connsiteX4" fmla="*/ 663947 w 1596219"/>
              <a:gd name="connsiteY4" fmla="*/ 0 h 1189223"/>
              <a:gd name="connsiteX5" fmla="*/ 1596219 w 1596219"/>
              <a:gd name="connsiteY5" fmla="*/ 661601 h 1189223"/>
              <a:gd name="connsiteX6" fmla="*/ 715992 w 1596219"/>
              <a:gd name="connsiteY6" fmla="*/ 1177794 h 1189223"/>
              <a:gd name="connsiteX7" fmla="*/ 473735 w 1596219"/>
              <a:gd name="connsiteY7" fmla="*/ 1189223 h 1189223"/>
              <a:gd name="connsiteX8" fmla="*/ 177489 w 1596219"/>
              <a:gd name="connsiteY8" fmla="*/ 1167370 h 1189223"/>
              <a:gd name="connsiteX9" fmla="*/ 0 w 1596219"/>
              <a:gd name="connsiteY9" fmla="*/ 1100156 h 1189223"/>
              <a:gd name="connsiteX10" fmla="*/ 320040 w 1596219"/>
              <a:gd name="connsiteY10" fmla="*/ 11430 h 1189223"/>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715992 w 1596219"/>
              <a:gd name="connsiteY6" fmla="*/ 1210867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473735 w 1596219"/>
              <a:gd name="connsiteY8" fmla="*/ 1222296 h 1222296"/>
              <a:gd name="connsiteX9" fmla="*/ 177489 w 1596219"/>
              <a:gd name="connsiteY9" fmla="*/ 1200443 h 1222296"/>
              <a:gd name="connsiteX10" fmla="*/ 0 w 1596219"/>
              <a:gd name="connsiteY10" fmla="*/ 1133229 h 1222296"/>
              <a:gd name="connsiteX11" fmla="*/ 320040 w 1596219"/>
              <a:gd name="connsiteY11"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473735 w 1596219"/>
              <a:gd name="connsiteY9" fmla="*/ 1222296 h 1222296"/>
              <a:gd name="connsiteX10" fmla="*/ 177489 w 1596219"/>
              <a:gd name="connsiteY10" fmla="*/ 1200443 h 1222296"/>
              <a:gd name="connsiteX11" fmla="*/ 0 w 1596219"/>
              <a:gd name="connsiteY11" fmla="*/ 1133229 h 1222296"/>
              <a:gd name="connsiteX12" fmla="*/ 320040 w 1596219"/>
              <a:gd name="connsiteY12"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473735 w 1596219"/>
              <a:gd name="connsiteY10" fmla="*/ 1222296 h 1222296"/>
              <a:gd name="connsiteX11" fmla="*/ 177489 w 1596219"/>
              <a:gd name="connsiteY11" fmla="*/ 1200443 h 1222296"/>
              <a:gd name="connsiteX12" fmla="*/ 0 w 1596219"/>
              <a:gd name="connsiteY12" fmla="*/ 1133229 h 1222296"/>
              <a:gd name="connsiteX13" fmla="*/ 320040 w 1596219"/>
              <a:gd name="connsiteY13"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629774 w 1596219"/>
              <a:gd name="connsiteY10" fmla="*/ 1168177 h 1222296"/>
              <a:gd name="connsiteX11" fmla="*/ 473735 w 1596219"/>
              <a:gd name="connsiteY11" fmla="*/ 1222296 h 1222296"/>
              <a:gd name="connsiteX12" fmla="*/ 177489 w 1596219"/>
              <a:gd name="connsiteY12" fmla="*/ 1200443 h 1222296"/>
              <a:gd name="connsiteX13" fmla="*/ 0 w 1596219"/>
              <a:gd name="connsiteY13" fmla="*/ 1133229 h 1222296"/>
              <a:gd name="connsiteX14" fmla="*/ 320040 w 1596219"/>
              <a:gd name="connsiteY14"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314999 w 1596219"/>
              <a:gd name="connsiteY7" fmla="*/ 885554 h 1222296"/>
              <a:gd name="connsiteX8" fmla="*/ 1196174 w 1596219"/>
              <a:gd name="connsiteY8" fmla="*/ 933660 h 1222296"/>
              <a:gd name="connsiteX9" fmla="*/ 1045662 w 1596219"/>
              <a:gd name="connsiteY9" fmla="*/ 996799 h 1222296"/>
              <a:gd name="connsiteX10" fmla="*/ 827815 w 1596219"/>
              <a:gd name="connsiteY10" fmla="*/ 1086998 h 1222296"/>
              <a:gd name="connsiteX11" fmla="*/ 629774 w 1596219"/>
              <a:gd name="connsiteY11" fmla="*/ 1168177 h 1222296"/>
              <a:gd name="connsiteX12" fmla="*/ 473735 w 1596219"/>
              <a:gd name="connsiteY12" fmla="*/ 1222296 h 1222296"/>
              <a:gd name="connsiteX13" fmla="*/ 177489 w 1596219"/>
              <a:gd name="connsiteY13" fmla="*/ 1200443 h 1222296"/>
              <a:gd name="connsiteX14" fmla="*/ 0 w 1596219"/>
              <a:gd name="connsiteY14" fmla="*/ 1133229 h 1222296"/>
              <a:gd name="connsiteX15" fmla="*/ 320040 w 1596219"/>
              <a:gd name="connsiteY15"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532845 w 1596219"/>
              <a:gd name="connsiteY6" fmla="*/ 771302 h 1222296"/>
              <a:gd name="connsiteX7" fmla="*/ 1488356 w 1596219"/>
              <a:gd name="connsiteY7" fmla="*/ 820005 h 1222296"/>
              <a:gd name="connsiteX8" fmla="*/ 1314999 w 1596219"/>
              <a:gd name="connsiteY8" fmla="*/ 885554 h 1222296"/>
              <a:gd name="connsiteX9" fmla="*/ 1196174 w 1596219"/>
              <a:gd name="connsiteY9" fmla="*/ 933660 h 1222296"/>
              <a:gd name="connsiteX10" fmla="*/ 1045662 w 1596219"/>
              <a:gd name="connsiteY10" fmla="*/ 996799 h 1222296"/>
              <a:gd name="connsiteX11" fmla="*/ 827815 w 1596219"/>
              <a:gd name="connsiteY11" fmla="*/ 1086998 h 1222296"/>
              <a:gd name="connsiteX12" fmla="*/ 629774 w 1596219"/>
              <a:gd name="connsiteY12" fmla="*/ 1168177 h 1222296"/>
              <a:gd name="connsiteX13" fmla="*/ 473735 w 1596219"/>
              <a:gd name="connsiteY13" fmla="*/ 1222296 h 1222296"/>
              <a:gd name="connsiteX14" fmla="*/ 177489 w 1596219"/>
              <a:gd name="connsiteY14" fmla="*/ 1200443 h 1222296"/>
              <a:gd name="connsiteX15" fmla="*/ 0 w 1596219"/>
              <a:gd name="connsiteY15" fmla="*/ 1133229 h 1222296"/>
              <a:gd name="connsiteX16" fmla="*/ 320040 w 1596219"/>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88356 w 1607172"/>
              <a:gd name="connsiteY7" fmla="*/ 820005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715569 w 1607172"/>
              <a:gd name="connsiteY12" fmla="*/ 1164020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00443"/>
              <a:gd name="connsiteX1" fmla="*/ 402566 w 1607172"/>
              <a:gd name="connsiteY1" fmla="*/ 57731 h 1200443"/>
              <a:gd name="connsiteX2" fmla="*/ 490700 w 1607172"/>
              <a:gd name="connsiteY2" fmla="*/ 65351 h 1200443"/>
              <a:gd name="connsiteX3" fmla="*/ 593282 w 1607172"/>
              <a:gd name="connsiteY3" fmla="*/ 50111 h 1200443"/>
              <a:gd name="connsiteX4" fmla="*/ 632260 w 1607172"/>
              <a:gd name="connsiteY4" fmla="*/ 0 h 1200443"/>
              <a:gd name="connsiteX5" fmla="*/ 1607172 w 1607172"/>
              <a:gd name="connsiteY5" fmla="*/ 691903 h 1200443"/>
              <a:gd name="connsiteX6" fmla="*/ 1532845 w 1607172"/>
              <a:gd name="connsiteY6" fmla="*/ 771302 h 1200443"/>
              <a:gd name="connsiteX7" fmla="*/ 1431768 w 1607172"/>
              <a:gd name="connsiteY7" fmla="*/ 862961 h 1200443"/>
              <a:gd name="connsiteX8" fmla="*/ 1327777 w 1607172"/>
              <a:gd name="connsiteY8" fmla="*/ 931281 h 1200443"/>
              <a:gd name="connsiteX9" fmla="*/ 1185222 w 1607172"/>
              <a:gd name="connsiteY9" fmla="*/ 1005715 h 1200443"/>
              <a:gd name="connsiteX10" fmla="*/ 1032884 w 1607172"/>
              <a:gd name="connsiteY10" fmla="*/ 1078554 h 1200443"/>
              <a:gd name="connsiteX11" fmla="*/ 895357 w 1607172"/>
              <a:gd name="connsiteY11" fmla="*/ 1121639 h 1200443"/>
              <a:gd name="connsiteX12" fmla="*/ 715569 w 1607172"/>
              <a:gd name="connsiteY12" fmla="*/ 1164020 h 1200443"/>
              <a:gd name="connsiteX13" fmla="*/ 491990 w 1607172"/>
              <a:gd name="connsiteY13" fmla="*/ 1186269 h 1200443"/>
              <a:gd name="connsiteX14" fmla="*/ 177489 w 1607172"/>
              <a:gd name="connsiteY14" fmla="*/ 1200443 h 1200443"/>
              <a:gd name="connsiteX15" fmla="*/ 0 w 1607172"/>
              <a:gd name="connsiteY15" fmla="*/ 1133229 h 1200443"/>
              <a:gd name="connsiteX16" fmla="*/ 320040 w 1607172"/>
              <a:gd name="connsiteY16" fmla="*/ 44503 h 1200443"/>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0 w 1607172"/>
              <a:gd name="connsiteY15" fmla="*/ 1133229 h 1186269"/>
              <a:gd name="connsiteX16" fmla="*/ 320040 w 1607172"/>
              <a:gd name="connsiteY16"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54128 w 1607172"/>
              <a:gd name="connsiteY15" fmla="*/ 1157249 h 1186269"/>
              <a:gd name="connsiteX16" fmla="*/ 0 w 1607172"/>
              <a:gd name="connsiteY16" fmla="*/ 1133229 h 1186269"/>
              <a:gd name="connsiteX17" fmla="*/ 320040 w 1607172"/>
              <a:gd name="connsiteY17"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43175 w 1607172"/>
              <a:gd name="connsiteY15" fmla="*/ 1173877 h 1186269"/>
              <a:gd name="connsiteX16" fmla="*/ 0 w 1607172"/>
              <a:gd name="connsiteY16" fmla="*/ 1133229 h 1186269"/>
              <a:gd name="connsiteX17" fmla="*/ 320040 w 1607172"/>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0 w 1702094"/>
              <a:gd name="connsiteY16" fmla="*/ 1126301 h 1186269"/>
              <a:gd name="connsiteX17" fmla="*/ 414962 w 1702094"/>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2492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36189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48044 w 1702094"/>
              <a:gd name="connsiteY3" fmla="*/ 16855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55588 h 1205668"/>
              <a:gd name="connsiteX1" fmla="*/ 490187 w 1702094"/>
              <a:gd name="connsiteY1" fmla="*/ 61888 h 1205668"/>
              <a:gd name="connsiteX2" fmla="*/ 581971 w 1702094"/>
              <a:gd name="connsiteY2" fmla="*/ 55651 h 1205668"/>
              <a:gd name="connsiteX3" fmla="*/ 648044 w 1702094"/>
              <a:gd name="connsiteY3" fmla="*/ 36254 h 1205668"/>
              <a:gd name="connsiteX4" fmla="*/ 727182 w 1702094"/>
              <a:gd name="connsiteY4" fmla="*/ 0 h 1205668"/>
              <a:gd name="connsiteX5" fmla="*/ 1702094 w 1702094"/>
              <a:gd name="connsiteY5" fmla="*/ 711302 h 1205668"/>
              <a:gd name="connsiteX6" fmla="*/ 1627767 w 1702094"/>
              <a:gd name="connsiteY6" fmla="*/ 790701 h 1205668"/>
              <a:gd name="connsiteX7" fmla="*/ 1526690 w 1702094"/>
              <a:gd name="connsiteY7" fmla="*/ 882360 h 1205668"/>
              <a:gd name="connsiteX8" fmla="*/ 1422699 w 1702094"/>
              <a:gd name="connsiteY8" fmla="*/ 950680 h 1205668"/>
              <a:gd name="connsiteX9" fmla="*/ 1280144 w 1702094"/>
              <a:gd name="connsiteY9" fmla="*/ 1025114 h 1205668"/>
              <a:gd name="connsiteX10" fmla="*/ 1127806 w 1702094"/>
              <a:gd name="connsiteY10" fmla="*/ 1097953 h 1205668"/>
              <a:gd name="connsiteX11" fmla="*/ 990279 w 1702094"/>
              <a:gd name="connsiteY11" fmla="*/ 1141038 h 1205668"/>
              <a:gd name="connsiteX12" fmla="*/ 810491 w 1702094"/>
              <a:gd name="connsiteY12" fmla="*/ 1183419 h 1205668"/>
              <a:gd name="connsiteX13" fmla="*/ 586912 w 1702094"/>
              <a:gd name="connsiteY13" fmla="*/ 1205668 h 1205668"/>
              <a:gd name="connsiteX14" fmla="*/ 392889 w 1702094"/>
              <a:gd name="connsiteY14" fmla="*/ 1204600 h 1205668"/>
              <a:gd name="connsiteX15" fmla="*/ 238097 w 1702094"/>
              <a:gd name="connsiteY15" fmla="*/ 1193276 h 1205668"/>
              <a:gd name="connsiteX16" fmla="*/ 101191 w 1702094"/>
              <a:gd name="connsiteY16" fmla="*/ 1171105 h 1205668"/>
              <a:gd name="connsiteX17" fmla="*/ 0 w 1702094"/>
              <a:gd name="connsiteY17" fmla="*/ 1145700 h 1205668"/>
              <a:gd name="connsiteX18" fmla="*/ 414962 w 1702094"/>
              <a:gd name="connsiteY18" fmla="*/ 55588 h 1205668"/>
              <a:gd name="connsiteX0" fmla="*/ 414962 w 1702094"/>
              <a:gd name="connsiteY0" fmla="*/ 51431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414962 w 1702094"/>
              <a:gd name="connsiteY18" fmla="*/ 51431 h 1201511"/>
              <a:gd name="connsiteX0" fmla="*/ 414962 w 1702094"/>
              <a:gd name="connsiteY0" fmla="*/ 45279 h 1195359"/>
              <a:gd name="connsiteX1" fmla="*/ 490187 w 1702094"/>
              <a:gd name="connsiteY1" fmla="*/ 51579 h 1195359"/>
              <a:gd name="connsiteX2" fmla="*/ 581971 w 1702094"/>
              <a:gd name="connsiteY2" fmla="*/ 45342 h 1195359"/>
              <a:gd name="connsiteX3" fmla="*/ 648044 w 1702094"/>
              <a:gd name="connsiteY3" fmla="*/ 25945 h 1195359"/>
              <a:gd name="connsiteX4" fmla="*/ 710140 w 1702094"/>
              <a:gd name="connsiteY4" fmla="*/ 0 h 1195359"/>
              <a:gd name="connsiteX5" fmla="*/ 1702094 w 1702094"/>
              <a:gd name="connsiteY5" fmla="*/ 700993 h 1195359"/>
              <a:gd name="connsiteX6" fmla="*/ 1627767 w 1702094"/>
              <a:gd name="connsiteY6" fmla="*/ 780392 h 1195359"/>
              <a:gd name="connsiteX7" fmla="*/ 1526690 w 1702094"/>
              <a:gd name="connsiteY7" fmla="*/ 872051 h 1195359"/>
              <a:gd name="connsiteX8" fmla="*/ 1422699 w 1702094"/>
              <a:gd name="connsiteY8" fmla="*/ 940371 h 1195359"/>
              <a:gd name="connsiteX9" fmla="*/ 1280144 w 1702094"/>
              <a:gd name="connsiteY9" fmla="*/ 1014805 h 1195359"/>
              <a:gd name="connsiteX10" fmla="*/ 1127806 w 1702094"/>
              <a:gd name="connsiteY10" fmla="*/ 1087644 h 1195359"/>
              <a:gd name="connsiteX11" fmla="*/ 990279 w 1702094"/>
              <a:gd name="connsiteY11" fmla="*/ 1130729 h 1195359"/>
              <a:gd name="connsiteX12" fmla="*/ 810491 w 1702094"/>
              <a:gd name="connsiteY12" fmla="*/ 1173110 h 1195359"/>
              <a:gd name="connsiteX13" fmla="*/ 586912 w 1702094"/>
              <a:gd name="connsiteY13" fmla="*/ 1195359 h 1195359"/>
              <a:gd name="connsiteX14" fmla="*/ 392889 w 1702094"/>
              <a:gd name="connsiteY14" fmla="*/ 1194291 h 1195359"/>
              <a:gd name="connsiteX15" fmla="*/ 238097 w 1702094"/>
              <a:gd name="connsiteY15" fmla="*/ 1182967 h 1195359"/>
              <a:gd name="connsiteX16" fmla="*/ 101191 w 1702094"/>
              <a:gd name="connsiteY16" fmla="*/ 1160796 h 1195359"/>
              <a:gd name="connsiteX17" fmla="*/ 0 w 1702094"/>
              <a:gd name="connsiteY17" fmla="*/ 1135391 h 1195359"/>
              <a:gd name="connsiteX18" fmla="*/ 414962 w 1702094"/>
              <a:gd name="connsiteY18" fmla="*/ 45279 h 1195359"/>
              <a:gd name="connsiteX0" fmla="*/ 414962 w 1768257"/>
              <a:gd name="connsiteY0" fmla="*/ 19334 h 1169414"/>
              <a:gd name="connsiteX1" fmla="*/ 490187 w 1768257"/>
              <a:gd name="connsiteY1" fmla="*/ 25634 h 1169414"/>
              <a:gd name="connsiteX2" fmla="*/ 581971 w 1768257"/>
              <a:gd name="connsiteY2" fmla="*/ 19397 h 1169414"/>
              <a:gd name="connsiteX3" fmla="*/ 648044 w 1768257"/>
              <a:gd name="connsiteY3" fmla="*/ 0 h 1169414"/>
              <a:gd name="connsiteX4" fmla="*/ 1768257 w 1768257"/>
              <a:gd name="connsiteY4" fmla="*/ 196963 h 1169414"/>
              <a:gd name="connsiteX5" fmla="*/ 1702094 w 1768257"/>
              <a:gd name="connsiteY5" fmla="*/ 675048 h 1169414"/>
              <a:gd name="connsiteX6" fmla="*/ 1627767 w 1768257"/>
              <a:gd name="connsiteY6" fmla="*/ 754447 h 1169414"/>
              <a:gd name="connsiteX7" fmla="*/ 1526690 w 1768257"/>
              <a:gd name="connsiteY7" fmla="*/ 846106 h 1169414"/>
              <a:gd name="connsiteX8" fmla="*/ 1422699 w 1768257"/>
              <a:gd name="connsiteY8" fmla="*/ 914426 h 1169414"/>
              <a:gd name="connsiteX9" fmla="*/ 1280144 w 1768257"/>
              <a:gd name="connsiteY9" fmla="*/ 988860 h 1169414"/>
              <a:gd name="connsiteX10" fmla="*/ 1127806 w 1768257"/>
              <a:gd name="connsiteY10" fmla="*/ 1061699 h 1169414"/>
              <a:gd name="connsiteX11" fmla="*/ 990279 w 1768257"/>
              <a:gd name="connsiteY11" fmla="*/ 1104784 h 1169414"/>
              <a:gd name="connsiteX12" fmla="*/ 810491 w 1768257"/>
              <a:gd name="connsiteY12" fmla="*/ 1147165 h 1169414"/>
              <a:gd name="connsiteX13" fmla="*/ 586912 w 1768257"/>
              <a:gd name="connsiteY13" fmla="*/ 1169414 h 1169414"/>
              <a:gd name="connsiteX14" fmla="*/ 392889 w 1768257"/>
              <a:gd name="connsiteY14" fmla="*/ 1168346 h 1169414"/>
              <a:gd name="connsiteX15" fmla="*/ 238097 w 1768257"/>
              <a:gd name="connsiteY15" fmla="*/ 1157022 h 1169414"/>
              <a:gd name="connsiteX16" fmla="*/ 101191 w 1768257"/>
              <a:gd name="connsiteY16" fmla="*/ 1134851 h 1169414"/>
              <a:gd name="connsiteX17" fmla="*/ 0 w 1768257"/>
              <a:gd name="connsiteY17" fmla="*/ 1109446 h 1169414"/>
              <a:gd name="connsiteX18" fmla="*/ 414962 w 1768257"/>
              <a:gd name="connsiteY18" fmla="*/ 19334 h 1169414"/>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526690 w 1768257"/>
              <a:gd name="connsiteY7" fmla="*/ 846106 h 1244292"/>
              <a:gd name="connsiteX8" fmla="*/ 1422699 w 1768257"/>
              <a:gd name="connsiteY8" fmla="*/ 914426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257307 w 1768257"/>
              <a:gd name="connsiteY7" fmla="*/ 1238498 h 1244292"/>
              <a:gd name="connsiteX8" fmla="*/ 1422699 w 1768257"/>
              <a:gd name="connsiteY8" fmla="*/ 914426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44292"/>
              <a:gd name="connsiteX1" fmla="*/ 490187 w 1768257"/>
              <a:gd name="connsiteY1" fmla="*/ 25634 h 1244292"/>
              <a:gd name="connsiteX2" fmla="*/ 581971 w 1768257"/>
              <a:gd name="connsiteY2" fmla="*/ 19397 h 1244292"/>
              <a:gd name="connsiteX3" fmla="*/ 648044 w 1768257"/>
              <a:gd name="connsiteY3" fmla="*/ 0 h 1244292"/>
              <a:gd name="connsiteX4" fmla="*/ 1768257 w 1768257"/>
              <a:gd name="connsiteY4" fmla="*/ 196963 h 1244292"/>
              <a:gd name="connsiteX5" fmla="*/ 1357478 w 1768257"/>
              <a:gd name="connsiteY5" fmla="*/ 1244292 h 1244292"/>
              <a:gd name="connsiteX6" fmla="*/ 1627767 w 1768257"/>
              <a:gd name="connsiteY6" fmla="*/ 754447 h 1244292"/>
              <a:gd name="connsiteX7" fmla="*/ 1257307 w 1768257"/>
              <a:gd name="connsiteY7" fmla="*/ 1238498 h 1244292"/>
              <a:gd name="connsiteX8" fmla="*/ 1153316 w 1768257"/>
              <a:gd name="connsiteY8" fmla="*/ 1176020 h 1244292"/>
              <a:gd name="connsiteX9" fmla="*/ 1280144 w 1768257"/>
              <a:gd name="connsiteY9" fmla="*/ 988860 h 1244292"/>
              <a:gd name="connsiteX10" fmla="*/ 1127806 w 1768257"/>
              <a:gd name="connsiteY10" fmla="*/ 1061699 h 1244292"/>
              <a:gd name="connsiteX11" fmla="*/ 990279 w 1768257"/>
              <a:gd name="connsiteY11" fmla="*/ 1104784 h 1244292"/>
              <a:gd name="connsiteX12" fmla="*/ 810491 w 1768257"/>
              <a:gd name="connsiteY12" fmla="*/ 1147165 h 1244292"/>
              <a:gd name="connsiteX13" fmla="*/ 586912 w 1768257"/>
              <a:gd name="connsiteY13" fmla="*/ 1169414 h 1244292"/>
              <a:gd name="connsiteX14" fmla="*/ 392889 w 1768257"/>
              <a:gd name="connsiteY14" fmla="*/ 1168346 h 1244292"/>
              <a:gd name="connsiteX15" fmla="*/ 238097 w 1768257"/>
              <a:gd name="connsiteY15" fmla="*/ 1157022 h 1244292"/>
              <a:gd name="connsiteX16" fmla="*/ 101191 w 1768257"/>
              <a:gd name="connsiteY16" fmla="*/ 1134851 h 1244292"/>
              <a:gd name="connsiteX17" fmla="*/ 0 w 1768257"/>
              <a:gd name="connsiteY17" fmla="*/ 1109446 h 1244292"/>
              <a:gd name="connsiteX18" fmla="*/ 414962 w 1768257"/>
              <a:gd name="connsiteY18" fmla="*/ 19334 h 1244292"/>
              <a:gd name="connsiteX0" fmla="*/ 414962 w 1768257"/>
              <a:gd name="connsiteY0" fmla="*/ 19334 h 1268424"/>
              <a:gd name="connsiteX1" fmla="*/ 490187 w 1768257"/>
              <a:gd name="connsiteY1" fmla="*/ 25634 h 1268424"/>
              <a:gd name="connsiteX2" fmla="*/ 581971 w 1768257"/>
              <a:gd name="connsiteY2" fmla="*/ 19397 h 1268424"/>
              <a:gd name="connsiteX3" fmla="*/ 648044 w 1768257"/>
              <a:gd name="connsiteY3" fmla="*/ 0 h 1268424"/>
              <a:gd name="connsiteX4" fmla="*/ 1768257 w 1768257"/>
              <a:gd name="connsiteY4" fmla="*/ 196963 h 1268424"/>
              <a:gd name="connsiteX5" fmla="*/ 1357478 w 1768257"/>
              <a:gd name="connsiteY5" fmla="*/ 1244292 h 1268424"/>
              <a:gd name="connsiteX6" fmla="*/ 1283151 w 1768257"/>
              <a:gd name="connsiteY6" fmla="*/ 1268424 h 1268424"/>
              <a:gd name="connsiteX7" fmla="*/ 1257307 w 1768257"/>
              <a:gd name="connsiteY7" fmla="*/ 1238498 h 1268424"/>
              <a:gd name="connsiteX8" fmla="*/ 1153316 w 1768257"/>
              <a:gd name="connsiteY8" fmla="*/ 1176020 h 1268424"/>
              <a:gd name="connsiteX9" fmla="*/ 1280144 w 1768257"/>
              <a:gd name="connsiteY9" fmla="*/ 988860 h 1268424"/>
              <a:gd name="connsiteX10" fmla="*/ 1127806 w 1768257"/>
              <a:gd name="connsiteY10" fmla="*/ 1061699 h 1268424"/>
              <a:gd name="connsiteX11" fmla="*/ 990279 w 1768257"/>
              <a:gd name="connsiteY11" fmla="*/ 1104784 h 1268424"/>
              <a:gd name="connsiteX12" fmla="*/ 810491 w 1768257"/>
              <a:gd name="connsiteY12" fmla="*/ 1147165 h 1268424"/>
              <a:gd name="connsiteX13" fmla="*/ 586912 w 1768257"/>
              <a:gd name="connsiteY13" fmla="*/ 1169414 h 1268424"/>
              <a:gd name="connsiteX14" fmla="*/ 392889 w 1768257"/>
              <a:gd name="connsiteY14" fmla="*/ 1168346 h 1268424"/>
              <a:gd name="connsiteX15" fmla="*/ 238097 w 1768257"/>
              <a:gd name="connsiteY15" fmla="*/ 1157022 h 1268424"/>
              <a:gd name="connsiteX16" fmla="*/ 101191 w 1768257"/>
              <a:gd name="connsiteY16" fmla="*/ 1134851 h 1268424"/>
              <a:gd name="connsiteX17" fmla="*/ 0 w 1768257"/>
              <a:gd name="connsiteY17" fmla="*/ 1109446 h 1268424"/>
              <a:gd name="connsiteX18" fmla="*/ 414962 w 1768257"/>
              <a:gd name="connsiteY18" fmla="*/ 19334 h 1268424"/>
              <a:gd name="connsiteX0" fmla="*/ 414962 w 1768257"/>
              <a:gd name="connsiteY0" fmla="*/ 19334 h 1268424"/>
              <a:gd name="connsiteX1" fmla="*/ 490187 w 1768257"/>
              <a:gd name="connsiteY1" fmla="*/ 25634 h 1268424"/>
              <a:gd name="connsiteX2" fmla="*/ 581971 w 1768257"/>
              <a:gd name="connsiteY2" fmla="*/ 19397 h 1268424"/>
              <a:gd name="connsiteX3" fmla="*/ 648044 w 1768257"/>
              <a:gd name="connsiteY3" fmla="*/ 0 h 1268424"/>
              <a:gd name="connsiteX4" fmla="*/ 1768257 w 1768257"/>
              <a:gd name="connsiteY4" fmla="*/ 196963 h 1268424"/>
              <a:gd name="connsiteX5" fmla="*/ 1357478 w 1768257"/>
              <a:gd name="connsiteY5" fmla="*/ 1244292 h 1268424"/>
              <a:gd name="connsiteX6" fmla="*/ 1283151 w 1768257"/>
              <a:gd name="connsiteY6" fmla="*/ 1268424 h 1268424"/>
              <a:gd name="connsiteX7" fmla="*/ 1257307 w 1768257"/>
              <a:gd name="connsiteY7" fmla="*/ 1238498 h 1268424"/>
              <a:gd name="connsiteX8" fmla="*/ 1153316 w 1768257"/>
              <a:gd name="connsiteY8" fmla="*/ 1176020 h 1268424"/>
              <a:gd name="connsiteX9" fmla="*/ 1085994 w 1768257"/>
              <a:gd name="connsiteY9" fmla="*/ 1167555 h 1268424"/>
              <a:gd name="connsiteX10" fmla="*/ 1127806 w 1768257"/>
              <a:gd name="connsiteY10" fmla="*/ 1061699 h 1268424"/>
              <a:gd name="connsiteX11" fmla="*/ 990279 w 1768257"/>
              <a:gd name="connsiteY11" fmla="*/ 1104784 h 1268424"/>
              <a:gd name="connsiteX12" fmla="*/ 810491 w 1768257"/>
              <a:gd name="connsiteY12" fmla="*/ 1147165 h 1268424"/>
              <a:gd name="connsiteX13" fmla="*/ 586912 w 1768257"/>
              <a:gd name="connsiteY13" fmla="*/ 1169414 h 1268424"/>
              <a:gd name="connsiteX14" fmla="*/ 392889 w 1768257"/>
              <a:gd name="connsiteY14" fmla="*/ 1168346 h 1268424"/>
              <a:gd name="connsiteX15" fmla="*/ 238097 w 1768257"/>
              <a:gd name="connsiteY15" fmla="*/ 1157022 h 1268424"/>
              <a:gd name="connsiteX16" fmla="*/ 101191 w 1768257"/>
              <a:gd name="connsiteY16" fmla="*/ 1134851 h 1268424"/>
              <a:gd name="connsiteX17" fmla="*/ 0 w 1768257"/>
              <a:gd name="connsiteY17" fmla="*/ 1109446 h 1268424"/>
              <a:gd name="connsiteX18" fmla="*/ 414962 w 1768257"/>
              <a:gd name="connsiteY18" fmla="*/ 19334 h 1268424"/>
              <a:gd name="connsiteX0" fmla="*/ 414962 w 1768257"/>
              <a:gd name="connsiteY0" fmla="*/ 0 h 1249090"/>
              <a:gd name="connsiteX1" fmla="*/ 490187 w 1768257"/>
              <a:gd name="connsiteY1" fmla="*/ 6300 h 1249090"/>
              <a:gd name="connsiteX2" fmla="*/ 581971 w 1768257"/>
              <a:gd name="connsiteY2" fmla="*/ 63 h 1249090"/>
              <a:gd name="connsiteX3" fmla="*/ 1609086 w 1768257"/>
              <a:gd name="connsiteY3" fmla="*/ 118832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490187 w 1768257"/>
              <a:gd name="connsiteY1" fmla="*/ 6300 h 1249090"/>
              <a:gd name="connsiteX2" fmla="*/ 581971 w 1768257"/>
              <a:gd name="connsiteY2" fmla="*/ 63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490187 w 1768257"/>
              <a:gd name="connsiteY1" fmla="*/ 6300 h 1249090"/>
              <a:gd name="connsiteX2" fmla="*/ 1635234 w 1768257"/>
              <a:gd name="connsiteY2" fmla="*/ 127176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414962 w 1768257"/>
              <a:gd name="connsiteY0" fmla="*/ 0 h 1249090"/>
              <a:gd name="connsiteX1" fmla="*/ 1616256 w 1768257"/>
              <a:gd name="connsiteY1" fmla="*/ 118675 h 1249090"/>
              <a:gd name="connsiteX2" fmla="*/ 1635234 w 1768257"/>
              <a:gd name="connsiteY2" fmla="*/ 127176 h 1249090"/>
              <a:gd name="connsiteX3" fmla="*/ 1696453 w 1768257"/>
              <a:gd name="connsiteY3" fmla="*/ 161203 h 1249090"/>
              <a:gd name="connsiteX4" fmla="*/ 1768257 w 1768257"/>
              <a:gd name="connsiteY4" fmla="*/ 177629 h 1249090"/>
              <a:gd name="connsiteX5" fmla="*/ 1357478 w 1768257"/>
              <a:gd name="connsiteY5" fmla="*/ 1224958 h 1249090"/>
              <a:gd name="connsiteX6" fmla="*/ 1283151 w 1768257"/>
              <a:gd name="connsiteY6" fmla="*/ 1249090 h 1249090"/>
              <a:gd name="connsiteX7" fmla="*/ 1257307 w 1768257"/>
              <a:gd name="connsiteY7" fmla="*/ 1219164 h 1249090"/>
              <a:gd name="connsiteX8" fmla="*/ 1153316 w 1768257"/>
              <a:gd name="connsiteY8" fmla="*/ 1156686 h 1249090"/>
              <a:gd name="connsiteX9" fmla="*/ 1085994 w 1768257"/>
              <a:gd name="connsiteY9" fmla="*/ 1148221 h 1249090"/>
              <a:gd name="connsiteX10" fmla="*/ 1127806 w 1768257"/>
              <a:gd name="connsiteY10" fmla="*/ 1042365 h 1249090"/>
              <a:gd name="connsiteX11" fmla="*/ 990279 w 1768257"/>
              <a:gd name="connsiteY11" fmla="*/ 1085450 h 1249090"/>
              <a:gd name="connsiteX12" fmla="*/ 810491 w 1768257"/>
              <a:gd name="connsiteY12" fmla="*/ 1127831 h 1249090"/>
              <a:gd name="connsiteX13" fmla="*/ 586912 w 1768257"/>
              <a:gd name="connsiteY13" fmla="*/ 1150080 h 1249090"/>
              <a:gd name="connsiteX14" fmla="*/ 392889 w 1768257"/>
              <a:gd name="connsiteY14" fmla="*/ 1149012 h 1249090"/>
              <a:gd name="connsiteX15" fmla="*/ 238097 w 1768257"/>
              <a:gd name="connsiteY15" fmla="*/ 1137688 h 1249090"/>
              <a:gd name="connsiteX16" fmla="*/ 101191 w 1768257"/>
              <a:gd name="connsiteY16" fmla="*/ 1115517 h 1249090"/>
              <a:gd name="connsiteX17" fmla="*/ 0 w 1768257"/>
              <a:gd name="connsiteY17" fmla="*/ 1090112 h 1249090"/>
              <a:gd name="connsiteX18" fmla="*/ 414962 w 1768257"/>
              <a:gd name="connsiteY18" fmla="*/ 0 h 1249090"/>
              <a:gd name="connsiteX0" fmla="*/ 1555592 w 1768257"/>
              <a:gd name="connsiteY0" fmla="*/ 0 h 1168033"/>
              <a:gd name="connsiteX1" fmla="*/ 1616256 w 1768257"/>
              <a:gd name="connsiteY1" fmla="*/ 37618 h 1168033"/>
              <a:gd name="connsiteX2" fmla="*/ 1635234 w 1768257"/>
              <a:gd name="connsiteY2" fmla="*/ 46119 h 1168033"/>
              <a:gd name="connsiteX3" fmla="*/ 1696453 w 1768257"/>
              <a:gd name="connsiteY3" fmla="*/ 80146 h 1168033"/>
              <a:gd name="connsiteX4" fmla="*/ 1768257 w 1768257"/>
              <a:gd name="connsiteY4" fmla="*/ 96572 h 1168033"/>
              <a:gd name="connsiteX5" fmla="*/ 1357478 w 1768257"/>
              <a:gd name="connsiteY5" fmla="*/ 1143901 h 1168033"/>
              <a:gd name="connsiteX6" fmla="*/ 1283151 w 1768257"/>
              <a:gd name="connsiteY6" fmla="*/ 1168033 h 1168033"/>
              <a:gd name="connsiteX7" fmla="*/ 1257307 w 1768257"/>
              <a:gd name="connsiteY7" fmla="*/ 1138107 h 1168033"/>
              <a:gd name="connsiteX8" fmla="*/ 1153316 w 1768257"/>
              <a:gd name="connsiteY8" fmla="*/ 1075629 h 1168033"/>
              <a:gd name="connsiteX9" fmla="*/ 1085994 w 1768257"/>
              <a:gd name="connsiteY9" fmla="*/ 1067164 h 1168033"/>
              <a:gd name="connsiteX10" fmla="*/ 1127806 w 1768257"/>
              <a:gd name="connsiteY10" fmla="*/ 961308 h 1168033"/>
              <a:gd name="connsiteX11" fmla="*/ 990279 w 1768257"/>
              <a:gd name="connsiteY11" fmla="*/ 1004393 h 1168033"/>
              <a:gd name="connsiteX12" fmla="*/ 810491 w 1768257"/>
              <a:gd name="connsiteY12" fmla="*/ 1046774 h 1168033"/>
              <a:gd name="connsiteX13" fmla="*/ 586912 w 1768257"/>
              <a:gd name="connsiteY13" fmla="*/ 1069023 h 1168033"/>
              <a:gd name="connsiteX14" fmla="*/ 392889 w 1768257"/>
              <a:gd name="connsiteY14" fmla="*/ 1067955 h 1168033"/>
              <a:gd name="connsiteX15" fmla="*/ 238097 w 1768257"/>
              <a:gd name="connsiteY15" fmla="*/ 1056631 h 1168033"/>
              <a:gd name="connsiteX16" fmla="*/ 101191 w 1768257"/>
              <a:gd name="connsiteY16" fmla="*/ 1034460 h 1168033"/>
              <a:gd name="connsiteX17" fmla="*/ 0 w 1768257"/>
              <a:gd name="connsiteY17" fmla="*/ 1009055 h 1168033"/>
              <a:gd name="connsiteX18" fmla="*/ 1555592 w 1768257"/>
              <a:gd name="connsiteY18" fmla="*/ 0 h 1168033"/>
              <a:gd name="connsiteX0" fmla="*/ 1454401 w 1667066"/>
              <a:gd name="connsiteY0" fmla="*/ 0 h 1168033"/>
              <a:gd name="connsiteX1" fmla="*/ 1515065 w 1667066"/>
              <a:gd name="connsiteY1" fmla="*/ 37618 h 1168033"/>
              <a:gd name="connsiteX2" fmla="*/ 1534043 w 1667066"/>
              <a:gd name="connsiteY2" fmla="*/ 46119 h 1168033"/>
              <a:gd name="connsiteX3" fmla="*/ 1595262 w 1667066"/>
              <a:gd name="connsiteY3" fmla="*/ 80146 h 1168033"/>
              <a:gd name="connsiteX4" fmla="*/ 1667066 w 1667066"/>
              <a:gd name="connsiteY4" fmla="*/ 96572 h 1168033"/>
              <a:gd name="connsiteX5" fmla="*/ 1256287 w 1667066"/>
              <a:gd name="connsiteY5" fmla="*/ 1143901 h 1168033"/>
              <a:gd name="connsiteX6" fmla="*/ 1181960 w 1667066"/>
              <a:gd name="connsiteY6" fmla="*/ 1168033 h 1168033"/>
              <a:gd name="connsiteX7" fmla="*/ 1156116 w 1667066"/>
              <a:gd name="connsiteY7" fmla="*/ 1138107 h 1168033"/>
              <a:gd name="connsiteX8" fmla="*/ 1052125 w 1667066"/>
              <a:gd name="connsiteY8" fmla="*/ 1075629 h 1168033"/>
              <a:gd name="connsiteX9" fmla="*/ 984803 w 1667066"/>
              <a:gd name="connsiteY9" fmla="*/ 1067164 h 1168033"/>
              <a:gd name="connsiteX10" fmla="*/ 1026615 w 1667066"/>
              <a:gd name="connsiteY10" fmla="*/ 961308 h 1168033"/>
              <a:gd name="connsiteX11" fmla="*/ 889088 w 1667066"/>
              <a:gd name="connsiteY11" fmla="*/ 1004393 h 1168033"/>
              <a:gd name="connsiteX12" fmla="*/ 709300 w 1667066"/>
              <a:gd name="connsiteY12" fmla="*/ 1046774 h 1168033"/>
              <a:gd name="connsiteX13" fmla="*/ 485721 w 1667066"/>
              <a:gd name="connsiteY13" fmla="*/ 1069023 h 1168033"/>
              <a:gd name="connsiteX14" fmla="*/ 291698 w 1667066"/>
              <a:gd name="connsiteY14" fmla="*/ 1067955 h 1168033"/>
              <a:gd name="connsiteX15" fmla="*/ 136906 w 1667066"/>
              <a:gd name="connsiteY15" fmla="*/ 1056631 h 1168033"/>
              <a:gd name="connsiteX16" fmla="*/ 0 w 1667066"/>
              <a:gd name="connsiteY16" fmla="*/ 1034460 h 1168033"/>
              <a:gd name="connsiteX17" fmla="*/ 403599 w 1667066"/>
              <a:gd name="connsiteY17" fmla="*/ 603768 h 1168033"/>
              <a:gd name="connsiteX18" fmla="*/ 1454401 w 1667066"/>
              <a:gd name="connsiteY18" fmla="*/ 0 h 1168033"/>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56116 w 1667066"/>
              <a:gd name="connsiteY7" fmla="*/ 1138107 h 1183350"/>
              <a:gd name="connsiteX8" fmla="*/ 1052125 w 1667066"/>
              <a:gd name="connsiteY8" fmla="*/ 1075629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52125 w 1667066"/>
              <a:gd name="connsiteY8" fmla="*/ 1075629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84803 w 1667066"/>
              <a:gd name="connsiteY9" fmla="*/ 106716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1026615 w 1667066"/>
              <a:gd name="connsiteY10" fmla="*/ 961308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89088 w 1667066"/>
              <a:gd name="connsiteY11" fmla="*/ 1004393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09300 w 1667066"/>
              <a:gd name="connsiteY12" fmla="*/ 104677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485721 w 1667066"/>
              <a:gd name="connsiteY13" fmla="*/ 1069023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291698 w 1667066"/>
              <a:gd name="connsiteY14" fmla="*/ 1067955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674623 w 1667066"/>
              <a:gd name="connsiteY14" fmla="*/ 910161 h 1183350"/>
              <a:gd name="connsiteX15" fmla="*/ 136906 w 1667066"/>
              <a:gd name="connsiteY15" fmla="*/ 1056631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454401 w 1667066"/>
              <a:gd name="connsiteY0" fmla="*/ 0 h 1183350"/>
              <a:gd name="connsiteX1" fmla="*/ 1515065 w 1667066"/>
              <a:gd name="connsiteY1" fmla="*/ 37618 h 1183350"/>
              <a:gd name="connsiteX2" fmla="*/ 1534043 w 1667066"/>
              <a:gd name="connsiteY2" fmla="*/ 46119 h 1183350"/>
              <a:gd name="connsiteX3" fmla="*/ 1595262 w 1667066"/>
              <a:gd name="connsiteY3" fmla="*/ 80146 h 1183350"/>
              <a:gd name="connsiteX4" fmla="*/ 1667066 w 1667066"/>
              <a:gd name="connsiteY4" fmla="*/ 96572 h 1183350"/>
              <a:gd name="connsiteX5" fmla="*/ 1256287 w 1667066"/>
              <a:gd name="connsiteY5" fmla="*/ 1183350 h 1183350"/>
              <a:gd name="connsiteX6" fmla="*/ 1181960 w 1667066"/>
              <a:gd name="connsiteY6" fmla="*/ 1168033 h 1183350"/>
              <a:gd name="connsiteX7" fmla="*/ 1127397 w 1667066"/>
              <a:gd name="connsiteY7" fmla="*/ 1148488 h 1183350"/>
              <a:gd name="connsiteX8" fmla="*/ 1039817 w 1667066"/>
              <a:gd name="connsiteY8" fmla="*/ 1116115 h 1183350"/>
              <a:gd name="connsiteX9" fmla="*/ 971127 w 1667066"/>
              <a:gd name="connsiteY9" fmla="*/ 1083774 h 1183350"/>
              <a:gd name="connsiteX10" fmla="*/ 917208 w 1667066"/>
              <a:gd name="connsiteY10" fmla="*/ 1063044 h 1183350"/>
              <a:gd name="connsiteX11" fmla="*/ 852163 w 1667066"/>
              <a:gd name="connsiteY11" fmla="*/ 1029308 h 1183350"/>
              <a:gd name="connsiteX12" fmla="*/ 788620 w 1667066"/>
              <a:gd name="connsiteY12" fmla="*/ 991754 h 1183350"/>
              <a:gd name="connsiteX13" fmla="*/ 734621 w 1667066"/>
              <a:gd name="connsiteY13" fmla="*/ 954830 h 1183350"/>
              <a:gd name="connsiteX14" fmla="*/ 674623 w 1667066"/>
              <a:gd name="connsiteY14" fmla="*/ 910161 h 1183350"/>
              <a:gd name="connsiteX15" fmla="*/ 544447 w 1667066"/>
              <a:gd name="connsiteY15" fmla="*/ 799177 h 1183350"/>
              <a:gd name="connsiteX16" fmla="*/ 0 w 1667066"/>
              <a:gd name="connsiteY16" fmla="*/ 1034460 h 1183350"/>
              <a:gd name="connsiteX17" fmla="*/ 403599 w 1667066"/>
              <a:gd name="connsiteY17" fmla="*/ 603768 h 1183350"/>
              <a:gd name="connsiteX18" fmla="*/ 1454401 w 1667066"/>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40848 w 1263467"/>
              <a:gd name="connsiteY15" fmla="*/ 799177 h 1183350"/>
              <a:gd name="connsiteX16" fmla="*/ 90100 w 1263467"/>
              <a:gd name="connsiteY16" fmla="*/ 753129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90100 w 1263467"/>
              <a:gd name="connsiteY16" fmla="*/ 753129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0 w 1263467"/>
              <a:gd name="connsiteY17" fmla="*/ 603768 h 1183350"/>
              <a:gd name="connsiteX18" fmla="*/ 1050802 w 1263467"/>
              <a:gd name="connsiteY18"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63018 w 1263467"/>
              <a:gd name="connsiteY17" fmla="*/ 696562 h 1183350"/>
              <a:gd name="connsiteX18" fmla="*/ 0 w 1263467"/>
              <a:gd name="connsiteY18" fmla="*/ 603768 h 1183350"/>
              <a:gd name="connsiteX19" fmla="*/ 1050802 w 1263467"/>
              <a:gd name="connsiteY19"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63018 w 1263467"/>
              <a:gd name="connsiteY17" fmla="*/ 696562 h 1183350"/>
              <a:gd name="connsiteX18" fmla="*/ 26093 w 1263467"/>
              <a:gd name="connsiteY18" fmla="*/ 647770 h 1183350"/>
              <a:gd name="connsiteX19" fmla="*/ 0 w 1263467"/>
              <a:gd name="connsiteY19" fmla="*/ 603768 h 1183350"/>
              <a:gd name="connsiteX20" fmla="*/ 1050802 w 1263467"/>
              <a:gd name="connsiteY20"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94472 w 1263467"/>
              <a:gd name="connsiteY17" fmla="*/ 741201 h 1183350"/>
              <a:gd name="connsiteX18" fmla="*/ 63018 w 1263467"/>
              <a:gd name="connsiteY18" fmla="*/ 696562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63018 w 1263467"/>
              <a:gd name="connsiteY18" fmla="*/ 696562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47975 w 1263467"/>
              <a:gd name="connsiteY18" fmla="*/ 697600 h 1183350"/>
              <a:gd name="connsiteX19" fmla="*/ 26093 w 1263467"/>
              <a:gd name="connsiteY19" fmla="*/ 647770 h 1183350"/>
              <a:gd name="connsiteX20" fmla="*/ 0 w 1263467"/>
              <a:gd name="connsiteY20" fmla="*/ 603768 h 1183350"/>
              <a:gd name="connsiteX21" fmla="*/ 1050802 w 1263467"/>
              <a:gd name="connsiteY21" fmla="*/ 0 h 1183350"/>
              <a:gd name="connsiteX0" fmla="*/ 1050802 w 1263467"/>
              <a:gd name="connsiteY0" fmla="*/ 0 h 1183350"/>
              <a:gd name="connsiteX1" fmla="*/ 1111466 w 1263467"/>
              <a:gd name="connsiteY1" fmla="*/ 37618 h 1183350"/>
              <a:gd name="connsiteX2" fmla="*/ 1130444 w 1263467"/>
              <a:gd name="connsiteY2" fmla="*/ 46119 h 1183350"/>
              <a:gd name="connsiteX3" fmla="*/ 1191663 w 1263467"/>
              <a:gd name="connsiteY3" fmla="*/ 80146 h 1183350"/>
              <a:gd name="connsiteX4" fmla="*/ 1263467 w 1263467"/>
              <a:gd name="connsiteY4" fmla="*/ 96572 h 1183350"/>
              <a:gd name="connsiteX5" fmla="*/ 852688 w 1263467"/>
              <a:gd name="connsiteY5" fmla="*/ 1183350 h 1183350"/>
              <a:gd name="connsiteX6" fmla="*/ 778361 w 1263467"/>
              <a:gd name="connsiteY6" fmla="*/ 1168033 h 1183350"/>
              <a:gd name="connsiteX7" fmla="*/ 723798 w 1263467"/>
              <a:gd name="connsiteY7" fmla="*/ 1148488 h 1183350"/>
              <a:gd name="connsiteX8" fmla="*/ 636218 w 1263467"/>
              <a:gd name="connsiteY8" fmla="*/ 1116115 h 1183350"/>
              <a:gd name="connsiteX9" fmla="*/ 567528 w 1263467"/>
              <a:gd name="connsiteY9" fmla="*/ 1083774 h 1183350"/>
              <a:gd name="connsiteX10" fmla="*/ 513609 w 1263467"/>
              <a:gd name="connsiteY10" fmla="*/ 1063044 h 1183350"/>
              <a:gd name="connsiteX11" fmla="*/ 448564 w 1263467"/>
              <a:gd name="connsiteY11" fmla="*/ 1029308 h 1183350"/>
              <a:gd name="connsiteX12" fmla="*/ 385021 w 1263467"/>
              <a:gd name="connsiteY12" fmla="*/ 991754 h 1183350"/>
              <a:gd name="connsiteX13" fmla="*/ 331022 w 1263467"/>
              <a:gd name="connsiteY13" fmla="*/ 954830 h 1183350"/>
              <a:gd name="connsiteX14" fmla="*/ 271024 w 1263467"/>
              <a:gd name="connsiteY14" fmla="*/ 910161 h 1183350"/>
              <a:gd name="connsiteX15" fmla="*/ 181876 w 1263467"/>
              <a:gd name="connsiteY15" fmla="*/ 839664 h 1183350"/>
              <a:gd name="connsiteX16" fmla="*/ 125657 w 1263467"/>
              <a:gd name="connsiteY16" fmla="*/ 788425 h 1183350"/>
              <a:gd name="connsiteX17" fmla="*/ 83531 w 1263467"/>
              <a:gd name="connsiteY17" fmla="*/ 742239 h 1183350"/>
              <a:gd name="connsiteX18" fmla="*/ 47975 w 1263467"/>
              <a:gd name="connsiteY18" fmla="*/ 697600 h 1183350"/>
              <a:gd name="connsiteX19" fmla="*/ 9682 w 1263467"/>
              <a:gd name="connsiteY19" fmla="*/ 646732 h 1183350"/>
              <a:gd name="connsiteX20" fmla="*/ 0 w 1263467"/>
              <a:gd name="connsiteY20" fmla="*/ 603768 h 1183350"/>
              <a:gd name="connsiteX21" fmla="*/ 1050802 w 1263467"/>
              <a:gd name="connsiteY21" fmla="*/ 0 h 1183350"/>
              <a:gd name="connsiteX0" fmla="*/ 1060375 w 1273040"/>
              <a:gd name="connsiteY0" fmla="*/ 0 h 1183350"/>
              <a:gd name="connsiteX1" fmla="*/ 1121039 w 1273040"/>
              <a:gd name="connsiteY1" fmla="*/ 37618 h 1183350"/>
              <a:gd name="connsiteX2" fmla="*/ 1140017 w 1273040"/>
              <a:gd name="connsiteY2" fmla="*/ 46119 h 1183350"/>
              <a:gd name="connsiteX3" fmla="*/ 1201236 w 1273040"/>
              <a:gd name="connsiteY3" fmla="*/ 80146 h 1183350"/>
              <a:gd name="connsiteX4" fmla="*/ 1273040 w 1273040"/>
              <a:gd name="connsiteY4" fmla="*/ 96572 h 1183350"/>
              <a:gd name="connsiteX5" fmla="*/ 862261 w 1273040"/>
              <a:gd name="connsiteY5" fmla="*/ 1183350 h 1183350"/>
              <a:gd name="connsiteX6" fmla="*/ 787934 w 1273040"/>
              <a:gd name="connsiteY6" fmla="*/ 1168033 h 1183350"/>
              <a:gd name="connsiteX7" fmla="*/ 733371 w 1273040"/>
              <a:gd name="connsiteY7" fmla="*/ 1148488 h 1183350"/>
              <a:gd name="connsiteX8" fmla="*/ 645791 w 1273040"/>
              <a:gd name="connsiteY8" fmla="*/ 1116115 h 1183350"/>
              <a:gd name="connsiteX9" fmla="*/ 577101 w 1273040"/>
              <a:gd name="connsiteY9" fmla="*/ 1083774 h 1183350"/>
              <a:gd name="connsiteX10" fmla="*/ 523182 w 1273040"/>
              <a:gd name="connsiteY10" fmla="*/ 1063044 h 1183350"/>
              <a:gd name="connsiteX11" fmla="*/ 458137 w 1273040"/>
              <a:gd name="connsiteY11" fmla="*/ 1029308 h 1183350"/>
              <a:gd name="connsiteX12" fmla="*/ 394594 w 1273040"/>
              <a:gd name="connsiteY12" fmla="*/ 991754 h 1183350"/>
              <a:gd name="connsiteX13" fmla="*/ 340595 w 1273040"/>
              <a:gd name="connsiteY13" fmla="*/ 954830 h 1183350"/>
              <a:gd name="connsiteX14" fmla="*/ 280597 w 1273040"/>
              <a:gd name="connsiteY14" fmla="*/ 910161 h 1183350"/>
              <a:gd name="connsiteX15" fmla="*/ 191449 w 1273040"/>
              <a:gd name="connsiteY15" fmla="*/ 839664 h 1183350"/>
              <a:gd name="connsiteX16" fmla="*/ 135230 w 1273040"/>
              <a:gd name="connsiteY16" fmla="*/ 788425 h 1183350"/>
              <a:gd name="connsiteX17" fmla="*/ 93104 w 1273040"/>
              <a:gd name="connsiteY17" fmla="*/ 742239 h 1183350"/>
              <a:gd name="connsiteX18" fmla="*/ 57548 w 1273040"/>
              <a:gd name="connsiteY18" fmla="*/ 697600 h 1183350"/>
              <a:gd name="connsiteX19" fmla="*/ 19255 w 1273040"/>
              <a:gd name="connsiteY19" fmla="*/ 646732 h 1183350"/>
              <a:gd name="connsiteX20" fmla="*/ 0 w 1273040"/>
              <a:gd name="connsiteY20" fmla="*/ 612073 h 1183350"/>
              <a:gd name="connsiteX21" fmla="*/ 1060375 w 1273040"/>
              <a:gd name="connsiteY21" fmla="*/ 0 h 1183350"/>
              <a:gd name="connsiteX0" fmla="*/ 1065845 w 1278510"/>
              <a:gd name="connsiteY0" fmla="*/ 0 h 1183350"/>
              <a:gd name="connsiteX1" fmla="*/ 1126509 w 1278510"/>
              <a:gd name="connsiteY1" fmla="*/ 37618 h 1183350"/>
              <a:gd name="connsiteX2" fmla="*/ 1145487 w 1278510"/>
              <a:gd name="connsiteY2" fmla="*/ 46119 h 1183350"/>
              <a:gd name="connsiteX3" fmla="*/ 1206706 w 1278510"/>
              <a:gd name="connsiteY3" fmla="*/ 80146 h 1183350"/>
              <a:gd name="connsiteX4" fmla="*/ 1278510 w 1278510"/>
              <a:gd name="connsiteY4" fmla="*/ 96572 h 1183350"/>
              <a:gd name="connsiteX5" fmla="*/ 867731 w 1278510"/>
              <a:gd name="connsiteY5" fmla="*/ 1183350 h 1183350"/>
              <a:gd name="connsiteX6" fmla="*/ 793404 w 1278510"/>
              <a:gd name="connsiteY6" fmla="*/ 1168033 h 1183350"/>
              <a:gd name="connsiteX7" fmla="*/ 738841 w 1278510"/>
              <a:gd name="connsiteY7" fmla="*/ 1148488 h 1183350"/>
              <a:gd name="connsiteX8" fmla="*/ 651261 w 1278510"/>
              <a:gd name="connsiteY8" fmla="*/ 1116115 h 1183350"/>
              <a:gd name="connsiteX9" fmla="*/ 582571 w 1278510"/>
              <a:gd name="connsiteY9" fmla="*/ 1083774 h 1183350"/>
              <a:gd name="connsiteX10" fmla="*/ 528652 w 1278510"/>
              <a:gd name="connsiteY10" fmla="*/ 1063044 h 1183350"/>
              <a:gd name="connsiteX11" fmla="*/ 463607 w 1278510"/>
              <a:gd name="connsiteY11" fmla="*/ 1029308 h 1183350"/>
              <a:gd name="connsiteX12" fmla="*/ 400064 w 1278510"/>
              <a:gd name="connsiteY12" fmla="*/ 991754 h 1183350"/>
              <a:gd name="connsiteX13" fmla="*/ 346065 w 1278510"/>
              <a:gd name="connsiteY13" fmla="*/ 954830 h 1183350"/>
              <a:gd name="connsiteX14" fmla="*/ 286067 w 1278510"/>
              <a:gd name="connsiteY14" fmla="*/ 910161 h 1183350"/>
              <a:gd name="connsiteX15" fmla="*/ 196919 w 1278510"/>
              <a:gd name="connsiteY15" fmla="*/ 839664 h 1183350"/>
              <a:gd name="connsiteX16" fmla="*/ 140700 w 1278510"/>
              <a:gd name="connsiteY16" fmla="*/ 788425 h 1183350"/>
              <a:gd name="connsiteX17" fmla="*/ 98574 w 1278510"/>
              <a:gd name="connsiteY17" fmla="*/ 742239 h 1183350"/>
              <a:gd name="connsiteX18" fmla="*/ 63018 w 1278510"/>
              <a:gd name="connsiteY18" fmla="*/ 697600 h 1183350"/>
              <a:gd name="connsiteX19" fmla="*/ 24725 w 1278510"/>
              <a:gd name="connsiteY19" fmla="*/ 646732 h 1183350"/>
              <a:gd name="connsiteX20" fmla="*/ 0 w 1278510"/>
              <a:gd name="connsiteY20" fmla="*/ 607921 h 1183350"/>
              <a:gd name="connsiteX21" fmla="*/ 1065845 w 1278510"/>
              <a:gd name="connsiteY21" fmla="*/ 0 h 1183350"/>
              <a:gd name="connsiteX0" fmla="*/ 1065845 w 1283980"/>
              <a:gd name="connsiteY0" fmla="*/ 0 h 1183350"/>
              <a:gd name="connsiteX1" fmla="*/ 1126509 w 1283980"/>
              <a:gd name="connsiteY1" fmla="*/ 37618 h 1183350"/>
              <a:gd name="connsiteX2" fmla="*/ 1145487 w 1283980"/>
              <a:gd name="connsiteY2" fmla="*/ 46119 h 1183350"/>
              <a:gd name="connsiteX3" fmla="*/ 1206706 w 1283980"/>
              <a:gd name="connsiteY3" fmla="*/ 80146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26509 w 1283980"/>
              <a:gd name="connsiteY1" fmla="*/ 37618 h 1183350"/>
              <a:gd name="connsiteX2" fmla="*/ 1145487 w 1283980"/>
              <a:gd name="connsiteY2" fmla="*/ 46119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26509 w 1283980"/>
              <a:gd name="connsiteY1" fmla="*/ 37618 h 1183350"/>
              <a:gd name="connsiteX2" fmla="*/ 1161898 w 1283980"/>
              <a:gd name="connsiteY2" fmla="*/ 51310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65845 w 1283980"/>
              <a:gd name="connsiteY0" fmla="*/ 0 h 1183350"/>
              <a:gd name="connsiteX1" fmla="*/ 1111465 w 1283980"/>
              <a:gd name="connsiteY1" fmla="*/ 27237 h 1183350"/>
              <a:gd name="connsiteX2" fmla="*/ 1161898 w 1283980"/>
              <a:gd name="connsiteY2" fmla="*/ 51310 h 1183350"/>
              <a:gd name="connsiteX3" fmla="*/ 1214912 w 1283980"/>
              <a:gd name="connsiteY3" fmla="*/ 74955 h 1183350"/>
              <a:gd name="connsiteX4" fmla="*/ 1283980 w 1283980"/>
              <a:gd name="connsiteY4" fmla="*/ 91381 h 1183350"/>
              <a:gd name="connsiteX5" fmla="*/ 867731 w 1283980"/>
              <a:gd name="connsiteY5" fmla="*/ 1183350 h 1183350"/>
              <a:gd name="connsiteX6" fmla="*/ 793404 w 1283980"/>
              <a:gd name="connsiteY6" fmla="*/ 1168033 h 1183350"/>
              <a:gd name="connsiteX7" fmla="*/ 738841 w 1283980"/>
              <a:gd name="connsiteY7" fmla="*/ 1148488 h 1183350"/>
              <a:gd name="connsiteX8" fmla="*/ 651261 w 1283980"/>
              <a:gd name="connsiteY8" fmla="*/ 1116115 h 1183350"/>
              <a:gd name="connsiteX9" fmla="*/ 582571 w 1283980"/>
              <a:gd name="connsiteY9" fmla="*/ 1083774 h 1183350"/>
              <a:gd name="connsiteX10" fmla="*/ 528652 w 1283980"/>
              <a:gd name="connsiteY10" fmla="*/ 1063044 h 1183350"/>
              <a:gd name="connsiteX11" fmla="*/ 463607 w 1283980"/>
              <a:gd name="connsiteY11" fmla="*/ 1029308 h 1183350"/>
              <a:gd name="connsiteX12" fmla="*/ 400064 w 1283980"/>
              <a:gd name="connsiteY12" fmla="*/ 991754 h 1183350"/>
              <a:gd name="connsiteX13" fmla="*/ 346065 w 1283980"/>
              <a:gd name="connsiteY13" fmla="*/ 954830 h 1183350"/>
              <a:gd name="connsiteX14" fmla="*/ 286067 w 1283980"/>
              <a:gd name="connsiteY14" fmla="*/ 910161 h 1183350"/>
              <a:gd name="connsiteX15" fmla="*/ 196919 w 1283980"/>
              <a:gd name="connsiteY15" fmla="*/ 839664 h 1183350"/>
              <a:gd name="connsiteX16" fmla="*/ 140700 w 1283980"/>
              <a:gd name="connsiteY16" fmla="*/ 788425 h 1183350"/>
              <a:gd name="connsiteX17" fmla="*/ 98574 w 1283980"/>
              <a:gd name="connsiteY17" fmla="*/ 742239 h 1183350"/>
              <a:gd name="connsiteX18" fmla="*/ 63018 w 1283980"/>
              <a:gd name="connsiteY18" fmla="*/ 697600 h 1183350"/>
              <a:gd name="connsiteX19" fmla="*/ 24725 w 1283980"/>
              <a:gd name="connsiteY19" fmla="*/ 646732 h 1183350"/>
              <a:gd name="connsiteX20" fmla="*/ 0 w 1283980"/>
              <a:gd name="connsiteY20" fmla="*/ 607921 h 1183350"/>
              <a:gd name="connsiteX21" fmla="*/ 1065845 w 1283980"/>
              <a:gd name="connsiteY21" fmla="*/ 0 h 1183350"/>
              <a:gd name="connsiteX0" fmla="*/ 1071315 w 1283980"/>
              <a:gd name="connsiteY0" fmla="*/ 0 h 1184388"/>
              <a:gd name="connsiteX1" fmla="*/ 1111465 w 1283980"/>
              <a:gd name="connsiteY1" fmla="*/ 28275 h 1184388"/>
              <a:gd name="connsiteX2" fmla="*/ 1161898 w 1283980"/>
              <a:gd name="connsiteY2" fmla="*/ 52348 h 1184388"/>
              <a:gd name="connsiteX3" fmla="*/ 1214912 w 1283980"/>
              <a:gd name="connsiteY3" fmla="*/ 75993 h 1184388"/>
              <a:gd name="connsiteX4" fmla="*/ 1283980 w 1283980"/>
              <a:gd name="connsiteY4" fmla="*/ 92419 h 1184388"/>
              <a:gd name="connsiteX5" fmla="*/ 867731 w 1283980"/>
              <a:gd name="connsiteY5" fmla="*/ 1184388 h 1184388"/>
              <a:gd name="connsiteX6" fmla="*/ 793404 w 1283980"/>
              <a:gd name="connsiteY6" fmla="*/ 1169071 h 1184388"/>
              <a:gd name="connsiteX7" fmla="*/ 738841 w 1283980"/>
              <a:gd name="connsiteY7" fmla="*/ 1149526 h 1184388"/>
              <a:gd name="connsiteX8" fmla="*/ 651261 w 1283980"/>
              <a:gd name="connsiteY8" fmla="*/ 1117153 h 1184388"/>
              <a:gd name="connsiteX9" fmla="*/ 582571 w 1283980"/>
              <a:gd name="connsiteY9" fmla="*/ 1084812 h 1184388"/>
              <a:gd name="connsiteX10" fmla="*/ 528652 w 1283980"/>
              <a:gd name="connsiteY10" fmla="*/ 1064082 h 1184388"/>
              <a:gd name="connsiteX11" fmla="*/ 463607 w 1283980"/>
              <a:gd name="connsiteY11" fmla="*/ 1030346 h 1184388"/>
              <a:gd name="connsiteX12" fmla="*/ 400064 w 1283980"/>
              <a:gd name="connsiteY12" fmla="*/ 992792 h 1184388"/>
              <a:gd name="connsiteX13" fmla="*/ 346065 w 1283980"/>
              <a:gd name="connsiteY13" fmla="*/ 955868 h 1184388"/>
              <a:gd name="connsiteX14" fmla="*/ 286067 w 1283980"/>
              <a:gd name="connsiteY14" fmla="*/ 911199 h 1184388"/>
              <a:gd name="connsiteX15" fmla="*/ 196919 w 1283980"/>
              <a:gd name="connsiteY15" fmla="*/ 840702 h 1184388"/>
              <a:gd name="connsiteX16" fmla="*/ 140700 w 1283980"/>
              <a:gd name="connsiteY16" fmla="*/ 789463 h 1184388"/>
              <a:gd name="connsiteX17" fmla="*/ 98574 w 1283980"/>
              <a:gd name="connsiteY17" fmla="*/ 743277 h 1184388"/>
              <a:gd name="connsiteX18" fmla="*/ 63018 w 1283980"/>
              <a:gd name="connsiteY18" fmla="*/ 698638 h 1184388"/>
              <a:gd name="connsiteX19" fmla="*/ 24725 w 1283980"/>
              <a:gd name="connsiteY19" fmla="*/ 647770 h 1184388"/>
              <a:gd name="connsiteX20" fmla="*/ 0 w 1283980"/>
              <a:gd name="connsiteY20" fmla="*/ 608959 h 1184388"/>
              <a:gd name="connsiteX21" fmla="*/ 1071315 w 1283980"/>
              <a:gd name="connsiteY21" fmla="*/ 0 h 1184388"/>
              <a:gd name="connsiteX0" fmla="*/ 1071315 w 1532073"/>
              <a:gd name="connsiteY0" fmla="*/ 0 h 1184388"/>
              <a:gd name="connsiteX1" fmla="*/ 1111465 w 1532073"/>
              <a:gd name="connsiteY1" fmla="*/ 28275 h 1184388"/>
              <a:gd name="connsiteX2" fmla="*/ 1161898 w 1532073"/>
              <a:gd name="connsiteY2" fmla="*/ 52348 h 1184388"/>
              <a:gd name="connsiteX3" fmla="*/ 1214912 w 1532073"/>
              <a:gd name="connsiteY3" fmla="*/ 75993 h 1184388"/>
              <a:gd name="connsiteX4" fmla="*/ 1532073 w 1532073"/>
              <a:gd name="connsiteY4" fmla="*/ 363523 h 1184388"/>
              <a:gd name="connsiteX5" fmla="*/ 867731 w 1532073"/>
              <a:gd name="connsiteY5" fmla="*/ 1184388 h 1184388"/>
              <a:gd name="connsiteX6" fmla="*/ 793404 w 1532073"/>
              <a:gd name="connsiteY6" fmla="*/ 1169071 h 1184388"/>
              <a:gd name="connsiteX7" fmla="*/ 738841 w 1532073"/>
              <a:gd name="connsiteY7" fmla="*/ 1149526 h 1184388"/>
              <a:gd name="connsiteX8" fmla="*/ 651261 w 1532073"/>
              <a:gd name="connsiteY8" fmla="*/ 1117153 h 1184388"/>
              <a:gd name="connsiteX9" fmla="*/ 582571 w 1532073"/>
              <a:gd name="connsiteY9" fmla="*/ 1084812 h 1184388"/>
              <a:gd name="connsiteX10" fmla="*/ 528652 w 1532073"/>
              <a:gd name="connsiteY10" fmla="*/ 1064082 h 1184388"/>
              <a:gd name="connsiteX11" fmla="*/ 463607 w 1532073"/>
              <a:gd name="connsiteY11" fmla="*/ 1030346 h 1184388"/>
              <a:gd name="connsiteX12" fmla="*/ 400064 w 1532073"/>
              <a:gd name="connsiteY12" fmla="*/ 992792 h 1184388"/>
              <a:gd name="connsiteX13" fmla="*/ 346065 w 1532073"/>
              <a:gd name="connsiteY13" fmla="*/ 955868 h 1184388"/>
              <a:gd name="connsiteX14" fmla="*/ 286067 w 1532073"/>
              <a:gd name="connsiteY14" fmla="*/ 911199 h 1184388"/>
              <a:gd name="connsiteX15" fmla="*/ 196919 w 1532073"/>
              <a:gd name="connsiteY15" fmla="*/ 840702 h 1184388"/>
              <a:gd name="connsiteX16" fmla="*/ 140700 w 1532073"/>
              <a:gd name="connsiteY16" fmla="*/ 789463 h 1184388"/>
              <a:gd name="connsiteX17" fmla="*/ 98574 w 1532073"/>
              <a:gd name="connsiteY17" fmla="*/ 743277 h 1184388"/>
              <a:gd name="connsiteX18" fmla="*/ 63018 w 1532073"/>
              <a:gd name="connsiteY18" fmla="*/ 698638 h 1184388"/>
              <a:gd name="connsiteX19" fmla="*/ 24725 w 1532073"/>
              <a:gd name="connsiteY19" fmla="*/ 647770 h 1184388"/>
              <a:gd name="connsiteX20" fmla="*/ 0 w 1532073"/>
              <a:gd name="connsiteY20" fmla="*/ 608959 h 1184388"/>
              <a:gd name="connsiteX21" fmla="*/ 1071315 w 1532073"/>
              <a:gd name="connsiteY21" fmla="*/ 0 h 1184388"/>
              <a:gd name="connsiteX0" fmla="*/ 1071315 w 1532073"/>
              <a:gd name="connsiteY0" fmla="*/ 0 h 1184388"/>
              <a:gd name="connsiteX1" fmla="*/ 1111465 w 1532073"/>
              <a:gd name="connsiteY1" fmla="*/ 28275 h 1184388"/>
              <a:gd name="connsiteX2" fmla="*/ 1161898 w 1532073"/>
              <a:gd name="connsiteY2" fmla="*/ 52348 h 1184388"/>
              <a:gd name="connsiteX3" fmla="*/ 1460278 w 1532073"/>
              <a:gd name="connsiteY3" fmla="*/ 253970 h 1184388"/>
              <a:gd name="connsiteX4" fmla="*/ 1532073 w 1532073"/>
              <a:gd name="connsiteY4" fmla="*/ 363523 h 1184388"/>
              <a:gd name="connsiteX5" fmla="*/ 867731 w 1532073"/>
              <a:gd name="connsiteY5" fmla="*/ 1184388 h 1184388"/>
              <a:gd name="connsiteX6" fmla="*/ 793404 w 1532073"/>
              <a:gd name="connsiteY6" fmla="*/ 1169071 h 1184388"/>
              <a:gd name="connsiteX7" fmla="*/ 738841 w 1532073"/>
              <a:gd name="connsiteY7" fmla="*/ 1149526 h 1184388"/>
              <a:gd name="connsiteX8" fmla="*/ 651261 w 1532073"/>
              <a:gd name="connsiteY8" fmla="*/ 1117153 h 1184388"/>
              <a:gd name="connsiteX9" fmla="*/ 582571 w 1532073"/>
              <a:gd name="connsiteY9" fmla="*/ 1084812 h 1184388"/>
              <a:gd name="connsiteX10" fmla="*/ 528652 w 1532073"/>
              <a:gd name="connsiteY10" fmla="*/ 1064082 h 1184388"/>
              <a:gd name="connsiteX11" fmla="*/ 463607 w 1532073"/>
              <a:gd name="connsiteY11" fmla="*/ 1030346 h 1184388"/>
              <a:gd name="connsiteX12" fmla="*/ 400064 w 1532073"/>
              <a:gd name="connsiteY12" fmla="*/ 992792 h 1184388"/>
              <a:gd name="connsiteX13" fmla="*/ 346065 w 1532073"/>
              <a:gd name="connsiteY13" fmla="*/ 955868 h 1184388"/>
              <a:gd name="connsiteX14" fmla="*/ 286067 w 1532073"/>
              <a:gd name="connsiteY14" fmla="*/ 911199 h 1184388"/>
              <a:gd name="connsiteX15" fmla="*/ 196919 w 1532073"/>
              <a:gd name="connsiteY15" fmla="*/ 840702 h 1184388"/>
              <a:gd name="connsiteX16" fmla="*/ 140700 w 1532073"/>
              <a:gd name="connsiteY16" fmla="*/ 789463 h 1184388"/>
              <a:gd name="connsiteX17" fmla="*/ 98574 w 1532073"/>
              <a:gd name="connsiteY17" fmla="*/ 743277 h 1184388"/>
              <a:gd name="connsiteX18" fmla="*/ 63018 w 1532073"/>
              <a:gd name="connsiteY18" fmla="*/ 698638 h 1184388"/>
              <a:gd name="connsiteX19" fmla="*/ 24725 w 1532073"/>
              <a:gd name="connsiteY19" fmla="*/ 647770 h 1184388"/>
              <a:gd name="connsiteX20" fmla="*/ 0 w 1532073"/>
              <a:gd name="connsiteY20" fmla="*/ 608959 h 1184388"/>
              <a:gd name="connsiteX21" fmla="*/ 1071315 w 1532073"/>
              <a:gd name="connsiteY21" fmla="*/ 0 h 1184388"/>
              <a:gd name="connsiteX0" fmla="*/ 1071315 w 1532073"/>
              <a:gd name="connsiteY0" fmla="*/ 0 h 1184388"/>
              <a:gd name="connsiteX1" fmla="*/ 1111465 w 1532073"/>
              <a:gd name="connsiteY1" fmla="*/ 28275 h 1184388"/>
              <a:gd name="connsiteX2" fmla="*/ 1448159 w 1532073"/>
              <a:gd name="connsiteY2" fmla="*/ 197213 h 1184388"/>
              <a:gd name="connsiteX3" fmla="*/ 1460278 w 1532073"/>
              <a:gd name="connsiteY3" fmla="*/ 253970 h 1184388"/>
              <a:gd name="connsiteX4" fmla="*/ 1532073 w 1532073"/>
              <a:gd name="connsiteY4" fmla="*/ 363523 h 1184388"/>
              <a:gd name="connsiteX5" fmla="*/ 867731 w 1532073"/>
              <a:gd name="connsiteY5" fmla="*/ 1184388 h 1184388"/>
              <a:gd name="connsiteX6" fmla="*/ 793404 w 1532073"/>
              <a:gd name="connsiteY6" fmla="*/ 1169071 h 1184388"/>
              <a:gd name="connsiteX7" fmla="*/ 738841 w 1532073"/>
              <a:gd name="connsiteY7" fmla="*/ 1149526 h 1184388"/>
              <a:gd name="connsiteX8" fmla="*/ 651261 w 1532073"/>
              <a:gd name="connsiteY8" fmla="*/ 1117153 h 1184388"/>
              <a:gd name="connsiteX9" fmla="*/ 582571 w 1532073"/>
              <a:gd name="connsiteY9" fmla="*/ 1084812 h 1184388"/>
              <a:gd name="connsiteX10" fmla="*/ 528652 w 1532073"/>
              <a:gd name="connsiteY10" fmla="*/ 1064082 h 1184388"/>
              <a:gd name="connsiteX11" fmla="*/ 463607 w 1532073"/>
              <a:gd name="connsiteY11" fmla="*/ 1030346 h 1184388"/>
              <a:gd name="connsiteX12" fmla="*/ 400064 w 1532073"/>
              <a:gd name="connsiteY12" fmla="*/ 992792 h 1184388"/>
              <a:gd name="connsiteX13" fmla="*/ 346065 w 1532073"/>
              <a:gd name="connsiteY13" fmla="*/ 955868 h 1184388"/>
              <a:gd name="connsiteX14" fmla="*/ 286067 w 1532073"/>
              <a:gd name="connsiteY14" fmla="*/ 911199 h 1184388"/>
              <a:gd name="connsiteX15" fmla="*/ 196919 w 1532073"/>
              <a:gd name="connsiteY15" fmla="*/ 840702 h 1184388"/>
              <a:gd name="connsiteX16" fmla="*/ 140700 w 1532073"/>
              <a:gd name="connsiteY16" fmla="*/ 789463 h 1184388"/>
              <a:gd name="connsiteX17" fmla="*/ 98574 w 1532073"/>
              <a:gd name="connsiteY17" fmla="*/ 743277 h 1184388"/>
              <a:gd name="connsiteX18" fmla="*/ 63018 w 1532073"/>
              <a:gd name="connsiteY18" fmla="*/ 698638 h 1184388"/>
              <a:gd name="connsiteX19" fmla="*/ 24725 w 1532073"/>
              <a:gd name="connsiteY19" fmla="*/ 647770 h 1184388"/>
              <a:gd name="connsiteX20" fmla="*/ 0 w 1532073"/>
              <a:gd name="connsiteY20" fmla="*/ 608959 h 1184388"/>
              <a:gd name="connsiteX21" fmla="*/ 1071315 w 1532073"/>
              <a:gd name="connsiteY21" fmla="*/ 0 h 1184388"/>
              <a:gd name="connsiteX0" fmla="*/ 1071315 w 1532073"/>
              <a:gd name="connsiteY0" fmla="*/ 0 h 1184388"/>
              <a:gd name="connsiteX1" fmla="*/ 1457704 w 1532073"/>
              <a:gd name="connsiteY1" fmla="*/ 140028 h 1184388"/>
              <a:gd name="connsiteX2" fmla="*/ 1448159 w 1532073"/>
              <a:gd name="connsiteY2" fmla="*/ 197213 h 1184388"/>
              <a:gd name="connsiteX3" fmla="*/ 1460278 w 1532073"/>
              <a:gd name="connsiteY3" fmla="*/ 253970 h 1184388"/>
              <a:gd name="connsiteX4" fmla="*/ 1532073 w 1532073"/>
              <a:gd name="connsiteY4" fmla="*/ 363523 h 1184388"/>
              <a:gd name="connsiteX5" fmla="*/ 867731 w 1532073"/>
              <a:gd name="connsiteY5" fmla="*/ 1184388 h 1184388"/>
              <a:gd name="connsiteX6" fmla="*/ 793404 w 1532073"/>
              <a:gd name="connsiteY6" fmla="*/ 1169071 h 1184388"/>
              <a:gd name="connsiteX7" fmla="*/ 738841 w 1532073"/>
              <a:gd name="connsiteY7" fmla="*/ 1149526 h 1184388"/>
              <a:gd name="connsiteX8" fmla="*/ 651261 w 1532073"/>
              <a:gd name="connsiteY8" fmla="*/ 1117153 h 1184388"/>
              <a:gd name="connsiteX9" fmla="*/ 582571 w 1532073"/>
              <a:gd name="connsiteY9" fmla="*/ 1084812 h 1184388"/>
              <a:gd name="connsiteX10" fmla="*/ 528652 w 1532073"/>
              <a:gd name="connsiteY10" fmla="*/ 1064082 h 1184388"/>
              <a:gd name="connsiteX11" fmla="*/ 463607 w 1532073"/>
              <a:gd name="connsiteY11" fmla="*/ 1030346 h 1184388"/>
              <a:gd name="connsiteX12" fmla="*/ 400064 w 1532073"/>
              <a:gd name="connsiteY12" fmla="*/ 992792 h 1184388"/>
              <a:gd name="connsiteX13" fmla="*/ 346065 w 1532073"/>
              <a:gd name="connsiteY13" fmla="*/ 955868 h 1184388"/>
              <a:gd name="connsiteX14" fmla="*/ 286067 w 1532073"/>
              <a:gd name="connsiteY14" fmla="*/ 911199 h 1184388"/>
              <a:gd name="connsiteX15" fmla="*/ 196919 w 1532073"/>
              <a:gd name="connsiteY15" fmla="*/ 840702 h 1184388"/>
              <a:gd name="connsiteX16" fmla="*/ 140700 w 1532073"/>
              <a:gd name="connsiteY16" fmla="*/ 789463 h 1184388"/>
              <a:gd name="connsiteX17" fmla="*/ 98574 w 1532073"/>
              <a:gd name="connsiteY17" fmla="*/ 743277 h 1184388"/>
              <a:gd name="connsiteX18" fmla="*/ 63018 w 1532073"/>
              <a:gd name="connsiteY18" fmla="*/ 698638 h 1184388"/>
              <a:gd name="connsiteX19" fmla="*/ 24725 w 1532073"/>
              <a:gd name="connsiteY19" fmla="*/ 647770 h 1184388"/>
              <a:gd name="connsiteX20" fmla="*/ 0 w 1532073"/>
              <a:gd name="connsiteY20" fmla="*/ 608959 h 1184388"/>
              <a:gd name="connsiteX21" fmla="*/ 1071315 w 1532073"/>
              <a:gd name="connsiteY21" fmla="*/ 0 h 1184388"/>
              <a:gd name="connsiteX0" fmla="*/ 1480259 w 1532073"/>
              <a:gd name="connsiteY0" fmla="*/ 0 h 1126442"/>
              <a:gd name="connsiteX1" fmla="*/ 1457704 w 1532073"/>
              <a:gd name="connsiteY1" fmla="*/ 82082 h 1126442"/>
              <a:gd name="connsiteX2" fmla="*/ 1448159 w 1532073"/>
              <a:gd name="connsiteY2" fmla="*/ 139267 h 1126442"/>
              <a:gd name="connsiteX3" fmla="*/ 1460278 w 1532073"/>
              <a:gd name="connsiteY3" fmla="*/ 196024 h 1126442"/>
              <a:gd name="connsiteX4" fmla="*/ 1532073 w 1532073"/>
              <a:gd name="connsiteY4" fmla="*/ 305577 h 1126442"/>
              <a:gd name="connsiteX5" fmla="*/ 867731 w 1532073"/>
              <a:gd name="connsiteY5" fmla="*/ 1126442 h 1126442"/>
              <a:gd name="connsiteX6" fmla="*/ 793404 w 1532073"/>
              <a:gd name="connsiteY6" fmla="*/ 1111125 h 1126442"/>
              <a:gd name="connsiteX7" fmla="*/ 738841 w 1532073"/>
              <a:gd name="connsiteY7" fmla="*/ 1091580 h 1126442"/>
              <a:gd name="connsiteX8" fmla="*/ 651261 w 1532073"/>
              <a:gd name="connsiteY8" fmla="*/ 1059207 h 1126442"/>
              <a:gd name="connsiteX9" fmla="*/ 582571 w 1532073"/>
              <a:gd name="connsiteY9" fmla="*/ 1026866 h 1126442"/>
              <a:gd name="connsiteX10" fmla="*/ 528652 w 1532073"/>
              <a:gd name="connsiteY10" fmla="*/ 1006136 h 1126442"/>
              <a:gd name="connsiteX11" fmla="*/ 463607 w 1532073"/>
              <a:gd name="connsiteY11" fmla="*/ 972400 h 1126442"/>
              <a:gd name="connsiteX12" fmla="*/ 400064 w 1532073"/>
              <a:gd name="connsiteY12" fmla="*/ 934846 h 1126442"/>
              <a:gd name="connsiteX13" fmla="*/ 346065 w 1532073"/>
              <a:gd name="connsiteY13" fmla="*/ 897922 h 1126442"/>
              <a:gd name="connsiteX14" fmla="*/ 286067 w 1532073"/>
              <a:gd name="connsiteY14" fmla="*/ 853253 h 1126442"/>
              <a:gd name="connsiteX15" fmla="*/ 196919 w 1532073"/>
              <a:gd name="connsiteY15" fmla="*/ 782756 h 1126442"/>
              <a:gd name="connsiteX16" fmla="*/ 140700 w 1532073"/>
              <a:gd name="connsiteY16" fmla="*/ 731517 h 1126442"/>
              <a:gd name="connsiteX17" fmla="*/ 98574 w 1532073"/>
              <a:gd name="connsiteY17" fmla="*/ 685331 h 1126442"/>
              <a:gd name="connsiteX18" fmla="*/ 63018 w 1532073"/>
              <a:gd name="connsiteY18" fmla="*/ 640692 h 1126442"/>
              <a:gd name="connsiteX19" fmla="*/ 24725 w 1532073"/>
              <a:gd name="connsiteY19" fmla="*/ 589824 h 1126442"/>
              <a:gd name="connsiteX20" fmla="*/ 0 w 1532073"/>
              <a:gd name="connsiteY20" fmla="*/ 551013 h 1126442"/>
              <a:gd name="connsiteX21" fmla="*/ 1480259 w 1532073"/>
              <a:gd name="connsiteY21" fmla="*/ 0 h 1126442"/>
              <a:gd name="connsiteX0" fmla="*/ 1455534 w 1507348"/>
              <a:gd name="connsiteY0" fmla="*/ 0 h 1126442"/>
              <a:gd name="connsiteX1" fmla="*/ 1432979 w 1507348"/>
              <a:gd name="connsiteY1" fmla="*/ 82082 h 1126442"/>
              <a:gd name="connsiteX2" fmla="*/ 1423434 w 1507348"/>
              <a:gd name="connsiteY2" fmla="*/ 139267 h 1126442"/>
              <a:gd name="connsiteX3" fmla="*/ 1435553 w 1507348"/>
              <a:gd name="connsiteY3" fmla="*/ 196024 h 1126442"/>
              <a:gd name="connsiteX4" fmla="*/ 1507348 w 1507348"/>
              <a:gd name="connsiteY4" fmla="*/ 305577 h 1126442"/>
              <a:gd name="connsiteX5" fmla="*/ 843006 w 1507348"/>
              <a:gd name="connsiteY5" fmla="*/ 1126442 h 1126442"/>
              <a:gd name="connsiteX6" fmla="*/ 768679 w 1507348"/>
              <a:gd name="connsiteY6" fmla="*/ 1111125 h 1126442"/>
              <a:gd name="connsiteX7" fmla="*/ 714116 w 1507348"/>
              <a:gd name="connsiteY7" fmla="*/ 1091580 h 1126442"/>
              <a:gd name="connsiteX8" fmla="*/ 626536 w 1507348"/>
              <a:gd name="connsiteY8" fmla="*/ 1059207 h 1126442"/>
              <a:gd name="connsiteX9" fmla="*/ 557846 w 1507348"/>
              <a:gd name="connsiteY9" fmla="*/ 1026866 h 1126442"/>
              <a:gd name="connsiteX10" fmla="*/ 503927 w 1507348"/>
              <a:gd name="connsiteY10" fmla="*/ 1006136 h 1126442"/>
              <a:gd name="connsiteX11" fmla="*/ 438882 w 1507348"/>
              <a:gd name="connsiteY11" fmla="*/ 972400 h 1126442"/>
              <a:gd name="connsiteX12" fmla="*/ 375339 w 1507348"/>
              <a:gd name="connsiteY12" fmla="*/ 934846 h 1126442"/>
              <a:gd name="connsiteX13" fmla="*/ 321340 w 1507348"/>
              <a:gd name="connsiteY13" fmla="*/ 897922 h 1126442"/>
              <a:gd name="connsiteX14" fmla="*/ 261342 w 1507348"/>
              <a:gd name="connsiteY14" fmla="*/ 853253 h 1126442"/>
              <a:gd name="connsiteX15" fmla="*/ 172194 w 1507348"/>
              <a:gd name="connsiteY15" fmla="*/ 782756 h 1126442"/>
              <a:gd name="connsiteX16" fmla="*/ 115975 w 1507348"/>
              <a:gd name="connsiteY16" fmla="*/ 731517 h 1126442"/>
              <a:gd name="connsiteX17" fmla="*/ 73849 w 1507348"/>
              <a:gd name="connsiteY17" fmla="*/ 685331 h 1126442"/>
              <a:gd name="connsiteX18" fmla="*/ 38293 w 1507348"/>
              <a:gd name="connsiteY18" fmla="*/ 640692 h 1126442"/>
              <a:gd name="connsiteX19" fmla="*/ 0 w 1507348"/>
              <a:gd name="connsiteY19" fmla="*/ 589824 h 1126442"/>
              <a:gd name="connsiteX20" fmla="*/ 408756 w 1507348"/>
              <a:gd name="connsiteY20" fmla="*/ 15013 h 1126442"/>
              <a:gd name="connsiteX21" fmla="*/ 1455534 w 1507348"/>
              <a:gd name="connsiteY21" fmla="*/ 0 h 1126442"/>
              <a:gd name="connsiteX0" fmla="*/ 1417241 w 1469055"/>
              <a:gd name="connsiteY0" fmla="*/ 0 h 1126442"/>
              <a:gd name="connsiteX1" fmla="*/ 1394686 w 1469055"/>
              <a:gd name="connsiteY1" fmla="*/ 82082 h 1126442"/>
              <a:gd name="connsiteX2" fmla="*/ 1385141 w 1469055"/>
              <a:gd name="connsiteY2" fmla="*/ 139267 h 1126442"/>
              <a:gd name="connsiteX3" fmla="*/ 1397260 w 1469055"/>
              <a:gd name="connsiteY3" fmla="*/ 196024 h 1126442"/>
              <a:gd name="connsiteX4" fmla="*/ 1469055 w 1469055"/>
              <a:gd name="connsiteY4" fmla="*/ 305577 h 1126442"/>
              <a:gd name="connsiteX5" fmla="*/ 804713 w 1469055"/>
              <a:gd name="connsiteY5" fmla="*/ 1126442 h 1126442"/>
              <a:gd name="connsiteX6" fmla="*/ 730386 w 1469055"/>
              <a:gd name="connsiteY6" fmla="*/ 1111125 h 1126442"/>
              <a:gd name="connsiteX7" fmla="*/ 675823 w 1469055"/>
              <a:gd name="connsiteY7" fmla="*/ 1091580 h 1126442"/>
              <a:gd name="connsiteX8" fmla="*/ 588243 w 1469055"/>
              <a:gd name="connsiteY8" fmla="*/ 1059207 h 1126442"/>
              <a:gd name="connsiteX9" fmla="*/ 519553 w 1469055"/>
              <a:gd name="connsiteY9" fmla="*/ 1026866 h 1126442"/>
              <a:gd name="connsiteX10" fmla="*/ 465634 w 1469055"/>
              <a:gd name="connsiteY10" fmla="*/ 1006136 h 1126442"/>
              <a:gd name="connsiteX11" fmla="*/ 400589 w 1469055"/>
              <a:gd name="connsiteY11" fmla="*/ 972400 h 1126442"/>
              <a:gd name="connsiteX12" fmla="*/ 337046 w 1469055"/>
              <a:gd name="connsiteY12" fmla="*/ 934846 h 1126442"/>
              <a:gd name="connsiteX13" fmla="*/ 283047 w 1469055"/>
              <a:gd name="connsiteY13" fmla="*/ 897922 h 1126442"/>
              <a:gd name="connsiteX14" fmla="*/ 223049 w 1469055"/>
              <a:gd name="connsiteY14" fmla="*/ 853253 h 1126442"/>
              <a:gd name="connsiteX15" fmla="*/ 133901 w 1469055"/>
              <a:gd name="connsiteY15" fmla="*/ 782756 h 1126442"/>
              <a:gd name="connsiteX16" fmla="*/ 77682 w 1469055"/>
              <a:gd name="connsiteY16" fmla="*/ 731517 h 1126442"/>
              <a:gd name="connsiteX17" fmla="*/ 35556 w 1469055"/>
              <a:gd name="connsiteY17" fmla="*/ 685331 h 1126442"/>
              <a:gd name="connsiteX18" fmla="*/ 0 w 1469055"/>
              <a:gd name="connsiteY18" fmla="*/ 640692 h 1126442"/>
              <a:gd name="connsiteX19" fmla="*/ 329756 w 1469055"/>
              <a:gd name="connsiteY19" fmla="*/ 91075 h 1126442"/>
              <a:gd name="connsiteX20" fmla="*/ 370463 w 1469055"/>
              <a:gd name="connsiteY20" fmla="*/ 15013 h 1126442"/>
              <a:gd name="connsiteX21" fmla="*/ 1417241 w 1469055"/>
              <a:gd name="connsiteY21" fmla="*/ 0 h 1126442"/>
              <a:gd name="connsiteX0" fmla="*/ 1381685 w 1433499"/>
              <a:gd name="connsiteY0" fmla="*/ 0 h 1126442"/>
              <a:gd name="connsiteX1" fmla="*/ 1359130 w 1433499"/>
              <a:gd name="connsiteY1" fmla="*/ 82082 h 1126442"/>
              <a:gd name="connsiteX2" fmla="*/ 1349585 w 1433499"/>
              <a:gd name="connsiteY2" fmla="*/ 139267 h 1126442"/>
              <a:gd name="connsiteX3" fmla="*/ 1361704 w 1433499"/>
              <a:gd name="connsiteY3" fmla="*/ 196024 h 1126442"/>
              <a:gd name="connsiteX4" fmla="*/ 1433499 w 1433499"/>
              <a:gd name="connsiteY4" fmla="*/ 305577 h 1126442"/>
              <a:gd name="connsiteX5" fmla="*/ 769157 w 1433499"/>
              <a:gd name="connsiteY5" fmla="*/ 1126442 h 1126442"/>
              <a:gd name="connsiteX6" fmla="*/ 694830 w 1433499"/>
              <a:gd name="connsiteY6" fmla="*/ 1111125 h 1126442"/>
              <a:gd name="connsiteX7" fmla="*/ 640267 w 1433499"/>
              <a:gd name="connsiteY7" fmla="*/ 1091580 h 1126442"/>
              <a:gd name="connsiteX8" fmla="*/ 552687 w 1433499"/>
              <a:gd name="connsiteY8" fmla="*/ 1059207 h 1126442"/>
              <a:gd name="connsiteX9" fmla="*/ 483997 w 1433499"/>
              <a:gd name="connsiteY9" fmla="*/ 1026866 h 1126442"/>
              <a:gd name="connsiteX10" fmla="*/ 430078 w 1433499"/>
              <a:gd name="connsiteY10" fmla="*/ 1006136 h 1126442"/>
              <a:gd name="connsiteX11" fmla="*/ 365033 w 1433499"/>
              <a:gd name="connsiteY11" fmla="*/ 972400 h 1126442"/>
              <a:gd name="connsiteX12" fmla="*/ 301490 w 1433499"/>
              <a:gd name="connsiteY12" fmla="*/ 934846 h 1126442"/>
              <a:gd name="connsiteX13" fmla="*/ 247491 w 1433499"/>
              <a:gd name="connsiteY13" fmla="*/ 897922 h 1126442"/>
              <a:gd name="connsiteX14" fmla="*/ 187493 w 1433499"/>
              <a:gd name="connsiteY14" fmla="*/ 853253 h 1126442"/>
              <a:gd name="connsiteX15" fmla="*/ 98345 w 1433499"/>
              <a:gd name="connsiteY15" fmla="*/ 782756 h 1126442"/>
              <a:gd name="connsiteX16" fmla="*/ 42126 w 1433499"/>
              <a:gd name="connsiteY16" fmla="*/ 731517 h 1126442"/>
              <a:gd name="connsiteX17" fmla="*/ 0 w 1433499"/>
              <a:gd name="connsiteY17" fmla="*/ 685331 h 1126442"/>
              <a:gd name="connsiteX18" fmla="*/ 256157 w 1433499"/>
              <a:gd name="connsiteY18" fmla="*/ 195749 h 1126442"/>
              <a:gd name="connsiteX19" fmla="*/ 294200 w 1433499"/>
              <a:gd name="connsiteY19" fmla="*/ 91075 h 1126442"/>
              <a:gd name="connsiteX20" fmla="*/ 334907 w 1433499"/>
              <a:gd name="connsiteY20" fmla="*/ 15013 h 1126442"/>
              <a:gd name="connsiteX21" fmla="*/ 1381685 w 1433499"/>
              <a:gd name="connsiteY21" fmla="*/ 0 h 1126442"/>
              <a:gd name="connsiteX0" fmla="*/ 1339559 w 1391373"/>
              <a:gd name="connsiteY0" fmla="*/ 0 h 1126442"/>
              <a:gd name="connsiteX1" fmla="*/ 1317004 w 1391373"/>
              <a:gd name="connsiteY1" fmla="*/ 82082 h 1126442"/>
              <a:gd name="connsiteX2" fmla="*/ 1307459 w 1391373"/>
              <a:gd name="connsiteY2" fmla="*/ 139267 h 1126442"/>
              <a:gd name="connsiteX3" fmla="*/ 1319578 w 1391373"/>
              <a:gd name="connsiteY3" fmla="*/ 196024 h 1126442"/>
              <a:gd name="connsiteX4" fmla="*/ 1391373 w 1391373"/>
              <a:gd name="connsiteY4" fmla="*/ 305577 h 1126442"/>
              <a:gd name="connsiteX5" fmla="*/ 727031 w 1391373"/>
              <a:gd name="connsiteY5" fmla="*/ 1126442 h 1126442"/>
              <a:gd name="connsiteX6" fmla="*/ 652704 w 1391373"/>
              <a:gd name="connsiteY6" fmla="*/ 1111125 h 1126442"/>
              <a:gd name="connsiteX7" fmla="*/ 598141 w 1391373"/>
              <a:gd name="connsiteY7" fmla="*/ 1091580 h 1126442"/>
              <a:gd name="connsiteX8" fmla="*/ 510561 w 1391373"/>
              <a:gd name="connsiteY8" fmla="*/ 1059207 h 1126442"/>
              <a:gd name="connsiteX9" fmla="*/ 441871 w 1391373"/>
              <a:gd name="connsiteY9" fmla="*/ 1026866 h 1126442"/>
              <a:gd name="connsiteX10" fmla="*/ 387952 w 1391373"/>
              <a:gd name="connsiteY10" fmla="*/ 1006136 h 1126442"/>
              <a:gd name="connsiteX11" fmla="*/ 322907 w 1391373"/>
              <a:gd name="connsiteY11" fmla="*/ 972400 h 1126442"/>
              <a:gd name="connsiteX12" fmla="*/ 259364 w 1391373"/>
              <a:gd name="connsiteY12" fmla="*/ 934846 h 1126442"/>
              <a:gd name="connsiteX13" fmla="*/ 205365 w 1391373"/>
              <a:gd name="connsiteY13" fmla="*/ 897922 h 1126442"/>
              <a:gd name="connsiteX14" fmla="*/ 145367 w 1391373"/>
              <a:gd name="connsiteY14" fmla="*/ 853253 h 1126442"/>
              <a:gd name="connsiteX15" fmla="*/ 56219 w 1391373"/>
              <a:gd name="connsiteY15" fmla="*/ 782756 h 1126442"/>
              <a:gd name="connsiteX16" fmla="*/ 0 w 1391373"/>
              <a:gd name="connsiteY16" fmla="*/ 731517 h 1126442"/>
              <a:gd name="connsiteX17" fmla="*/ 186883 w 1391373"/>
              <a:gd name="connsiteY17" fmla="*/ 368698 h 1126442"/>
              <a:gd name="connsiteX18" fmla="*/ 214031 w 1391373"/>
              <a:gd name="connsiteY18" fmla="*/ 195749 h 1126442"/>
              <a:gd name="connsiteX19" fmla="*/ 252074 w 1391373"/>
              <a:gd name="connsiteY19" fmla="*/ 91075 h 1126442"/>
              <a:gd name="connsiteX20" fmla="*/ 292781 w 1391373"/>
              <a:gd name="connsiteY20" fmla="*/ 15013 h 1126442"/>
              <a:gd name="connsiteX21" fmla="*/ 1339559 w 1391373"/>
              <a:gd name="connsiteY21" fmla="*/ 0 h 1126442"/>
              <a:gd name="connsiteX0" fmla="*/ 1283340 w 1335154"/>
              <a:gd name="connsiteY0" fmla="*/ 0 h 1126442"/>
              <a:gd name="connsiteX1" fmla="*/ 1260785 w 1335154"/>
              <a:gd name="connsiteY1" fmla="*/ 82082 h 1126442"/>
              <a:gd name="connsiteX2" fmla="*/ 1251240 w 1335154"/>
              <a:gd name="connsiteY2" fmla="*/ 139267 h 1126442"/>
              <a:gd name="connsiteX3" fmla="*/ 1263359 w 1335154"/>
              <a:gd name="connsiteY3" fmla="*/ 196024 h 1126442"/>
              <a:gd name="connsiteX4" fmla="*/ 1335154 w 1335154"/>
              <a:gd name="connsiteY4" fmla="*/ 305577 h 1126442"/>
              <a:gd name="connsiteX5" fmla="*/ 670812 w 1335154"/>
              <a:gd name="connsiteY5" fmla="*/ 1126442 h 1126442"/>
              <a:gd name="connsiteX6" fmla="*/ 596485 w 1335154"/>
              <a:gd name="connsiteY6" fmla="*/ 1111125 h 1126442"/>
              <a:gd name="connsiteX7" fmla="*/ 541922 w 1335154"/>
              <a:gd name="connsiteY7" fmla="*/ 1091580 h 1126442"/>
              <a:gd name="connsiteX8" fmla="*/ 454342 w 1335154"/>
              <a:gd name="connsiteY8" fmla="*/ 1059207 h 1126442"/>
              <a:gd name="connsiteX9" fmla="*/ 385652 w 1335154"/>
              <a:gd name="connsiteY9" fmla="*/ 1026866 h 1126442"/>
              <a:gd name="connsiteX10" fmla="*/ 331733 w 1335154"/>
              <a:gd name="connsiteY10" fmla="*/ 1006136 h 1126442"/>
              <a:gd name="connsiteX11" fmla="*/ 266688 w 1335154"/>
              <a:gd name="connsiteY11" fmla="*/ 972400 h 1126442"/>
              <a:gd name="connsiteX12" fmla="*/ 203145 w 1335154"/>
              <a:gd name="connsiteY12" fmla="*/ 934846 h 1126442"/>
              <a:gd name="connsiteX13" fmla="*/ 149146 w 1335154"/>
              <a:gd name="connsiteY13" fmla="*/ 897922 h 1126442"/>
              <a:gd name="connsiteX14" fmla="*/ 89148 w 1335154"/>
              <a:gd name="connsiteY14" fmla="*/ 853253 h 1126442"/>
              <a:gd name="connsiteX15" fmla="*/ 0 w 1335154"/>
              <a:gd name="connsiteY15" fmla="*/ 782756 h 1126442"/>
              <a:gd name="connsiteX16" fmla="*/ 110085 w 1335154"/>
              <a:gd name="connsiteY16" fmla="*/ 466621 h 1126442"/>
              <a:gd name="connsiteX17" fmla="*/ 130664 w 1335154"/>
              <a:gd name="connsiteY17" fmla="*/ 368698 h 1126442"/>
              <a:gd name="connsiteX18" fmla="*/ 157812 w 1335154"/>
              <a:gd name="connsiteY18" fmla="*/ 195749 h 1126442"/>
              <a:gd name="connsiteX19" fmla="*/ 195855 w 1335154"/>
              <a:gd name="connsiteY19" fmla="*/ 91075 h 1126442"/>
              <a:gd name="connsiteX20" fmla="*/ 236562 w 1335154"/>
              <a:gd name="connsiteY20" fmla="*/ 15013 h 1126442"/>
              <a:gd name="connsiteX21" fmla="*/ 1283340 w 1335154"/>
              <a:gd name="connsiteY21" fmla="*/ 0 h 1126442"/>
              <a:gd name="connsiteX0" fmla="*/ 1194192 w 1246006"/>
              <a:gd name="connsiteY0" fmla="*/ 0 h 1126442"/>
              <a:gd name="connsiteX1" fmla="*/ 1171637 w 1246006"/>
              <a:gd name="connsiteY1" fmla="*/ 82082 h 1126442"/>
              <a:gd name="connsiteX2" fmla="*/ 1162092 w 1246006"/>
              <a:gd name="connsiteY2" fmla="*/ 139267 h 1126442"/>
              <a:gd name="connsiteX3" fmla="*/ 1174211 w 1246006"/>
              <a:gd name="connsiteY3" fmla="*/ 196024 h 1126442"/>
              <a:gd name="connsiteX4" fmla="*/ 1246006 w 1246006"/>
              <a:gd name="connsiteY4" fmla="*/ 305577 h 1126442"/>
              <a:gd name="connsiteX5" fmla="*/ 581664 w 1246006"/>
              <a:gd name="connsiteY5" fmla="*/ 1126442 h 1126442"/>
              <a:gd name="connsiteX6" fmla="*/ 507337 w 1246006"/>
              <a:gd name="connsiteY6" fmla="*/ 1111125 h 1126442"/>
              <a:gd name="connsiteX7" fmla="*/ 452774 w 1246006"/>
              <a:gd name="connsiteY7" fmla="*/ 1091580 h 1126442"/>
              <a:gd name="connsiteX8" fmla="*/ 365194 w 1246006"/>
              <a:gd name="connsiteY8" fmla="*/ 1059207 h 1126442"/>
              <a:gd name="connsiteX9" fmla="*/ 296504 w 1246006"/>
              <a:gd name="connsiteY9" fmla="*/ 1026866 h 1126442"/>
              <a:gd name="connsiteX10" fmla="*/ 242585 w 1246006"/>
              <a:gd name="connsiteY10" fmla="*/ 1006136 h 1126442"/>
              <a:gd name="connsiteX11" fmla="*/ 177540 w 1246006"/>
              <a:gd name="connsiteY11" fmla="*/ 972400 h 1126442"/>
              <a:gd name="connsiteX12" fmla="*/ 113997 w 1246006"/>
              <a:gd name="connsiteY12" fmla="*/ 934846 h 1126442"/>
              <a:gd name="connsiteX13" fmla="*/ 59998 w 1246006"/>
              <a:gd name="connsiteY13" fmla="*/ 897922 h 1126442"/>
              <a:gd name="connsiteX14" fmla="*/ 0 w 1246006"/>
              <a:gd name="connsiteY14" fmla="*/ 853253 h 1126442"/>
              <a:gd name="connsiteX15" fmla="*/ 82609 w 1246006"/>
              <a:gd name="connsiteY15" fmla="*/ 534416 h 1126442"/>
              <a:gd name="connsiteX16" fmla="*/ 20937 w 1246006"/>
              <a:gd name="connsiteY16" fmla="*/ 466621 h 1126442"/>
              <a:gd name="connsiteX17" fmla="*/ 41516 w 1246006"/>
              <a:gd name="connsiteY17" fmla="*/ 368698 h 1126442"/>
              <a:gd name="connsiteX18" fmla="*/ 68664 w 1246006"/>
              <a:gd name="connsiteY18" fmla="*/ 195749 h 1126442"/>
              <a:gd name="connsiteX19" fmla="*/ 106707 w 1246006"/>
              <a:gd name="connsiteY19" fmla="*/ 91075 h 1126442"/>
              <a:gd name="connsiteX20" fmla="*/ 147414 w 1246006"/>
              <a:gd name="connsiteY20" fmla="*/ 15013 h 1126442"/>
              <a:gd name="connsiteX21" fmla="*/ 1194192 w 1246006"/>
              <a:gd name="connsiteY21" fmla="*/ 0 h 1126442"/>
              <a:gd name="connsiteX0" fmla="*/ 1173255 w 1225069"/>
              <a:gd name="connsiteY0" fmla="*/ 0 h 1126442"/>
              <a:gd name="connsiteX1" fmla="*/ 1150700 w 1225069"/>
              <a:gd name="connsiteY1" fmla="*/ 82082 h 1126442"/>
              <a:gd name="connsiteX2" fmla="*/ 1141155 w 1225069"/>
              <a:gd name="connsiteY2" fmla="*/ 139267 h 1126442"/>
              <a:gd name="connsiteX3" fmla="*/ 1153274 w 1225069"/>
              <a:gd name="connsiteY3" fmla="*/ 196024 h 1126442"/>
              <a:gd name="connsiteX4" fmla="*/ 1225069 w 1225069"/>
              <a:gd name="connsiteY4" fmla="*/ 305577 h 1126442"/>
              <a:gd name="connsiteX5" fmla="*/ 560727 w 1225069"/>
              <a:gd name="connsiteY5" fmla="*/ 1126442 h 1126442"/>
              <a:gd name="connsiteX6" fmla="*/ 486400 w 1225069"/>
              <a:gd name="connsiteY6" fmla="*/ 1111125 h 1126442"/>
              <a:gd name="connsiteX7" fmla="*/ 431837 w 1225069"/>
              <a:gd name="connsiteY7" fmla="*/ 1091580 h 1126442"/>
              <a:gd name="connsiteX8" fmla="*/ 344257 w 1225069"/>
              <a:gd name="connsiteY8" fmla="*/ 1059207 h 1126442"/>
              <a:gd name="connsiteX9" fmla="*/ 275567 w 1225069"/>
              <a:gd name="connsiteY9" fmla="*/ 1026866 h 1126442"/>
              <a:gd name="connsiteX10" fmla="*/ 221648 w 1225069"/>
              <a:gd name="connsiteY10" fmla="*/ 1006136 h 1126442"/>
              <a:gd name="connsiteX11" fmla="*/ 156603 w 1225069"/>
              <a:gd name="connsiteY11" fmla="*/ 972400 h 1126442"/>
              <a:gd name="connsiteX12" fmla="*/ 93060 w 1225069"/>
              <a:gd name="connsiteY12" fmla="*/ 934846 h 1126442"/>
              <a:gd name="connsiteX13" fmla="*/ 39061 w 1225069"/>
              <a:gd name="connsiteY13" fmla="*/ 897922 h 1126442"/>
              <a:gd name="connsiteX14" fmla="*/ 71757 w 1225069"/>
              <a:gd name="connsiteY14" fmla="*/ 640094 h 1126442"/>
              <a:gd name="connsiteX15" fmla="*/ 61672 w 1225069"/>
              <a:gd name="connsiteY15" fmla="*/ 534416 h 1126442"/>
              <a:gd name="connsiteX16" fmla="*/ 0 w 1225069"/>
              <a:gd name="connsiteY16" fmla="*/ 466621 h 1126442"/>
              <a:gd name="connsiteX17" fmla="*/ 20579 w 1225069"/>
              <a:gd name="connsiteY17" fmla="*/ 368698 h 1126442"/>
              <a:gd name="connsiteX18" fmla="*/ 47727 w 1225069"/>
              <a:gd name="connsiteY18" fmla="*/ 195749 h 1126442"/>
              <a:gd name="connsiteX19" fmla="*/ 85770 w 1225069"/>
              <a:gd name="connsiteY19" fmla="*/ 91075 h 1126442"/>
              <a:gd name="connsiteX20" fmla="*/ 126477 w 1225069"/>
              <a:gd name="connsiteY20" fmla="*/ 15013 h 1126442"/>
              <a:gd name="connsiteX21" fmla="*/ 1173255 w 1225069"/>
              <a:gd name="connsiteY21" fmla="*/ 0 h 1126442"/>
              <a:gd name="connsiteX0" fmla="*/ 1173255 w 1225069"/>
              <a:gd name="connsiteY0" fmla="*/ 0 h 1126442"/>
              <a:gd name="connsiteX1" fmla="*/ 1150700 w 1225069"/>
              <a:gd name="connsiteY1" fmla="*/ 82082 h 1126442"/>
              <a:gd name="connsiteX2" fmla="*/ 1141155 w 1225069"/>
              <a:gd name="connsiteY2" fmla="*/ 139267 h 1126442"/>
              <a:gd name="connsiteX3" fmla="*/ 1153274 w 1225069"/>
              <a:gd name="connsiteY3" fmla="*/ 196024 h 1126442"/>
              <a:gd name="connsiteX4" fmla="*/ 1225069 w 1225069"/>
              <a:gd name="connsiteY4" fmla="*/ 305577 h 1126442"/>
              <a:gd name="connsiteX5" fmla="*/ 560727 w 1225069"/>
              <a:gd name="connsiteY5" fmla="*/ 1126442 h 1126442"/>
              <a:gd name="connsiteX6" fmla="*/ 486400 w 1225069"/>
              <a:gd name="connsiteY6" fmla="*/ 1111125 h 1126442"/>
              <a:gd name="connsiteX7" fmla="*/ 431837 w 1225069"/>
              <a:gd name="connsiteY7" fmla="*/ 1091580 h 1126442"/>
              <a:gd name="connsiteX8" fmla="*/ 344257 w 1225069"/>
              <a:gd name="connsiteY8" fmla="*/ 1059207 h 1126442"/>
              <a:gd name="connsiteX9" fmla="*/ 275567 w 1225069"/>
              <a:gd name="connsiteY9" fmla="*/ 1026866 h 1126442"/>
              <a:gd name="connsiteX10" fmla="*/ 221648 w 1225069"/>
              <a:gd name="connsiteY10" fmla="*/ 1006136 h 1126442"/>
              <a:gd name="connsiteX11" fmla="*/ 156603 w 1225069"/>
              <a:gd name="connsiteY11" fmla="*/ 972400 h 1126442"/>
              <a:gd name="connsiteX12" fmla="*/ 93060 w 1225069"/>
              <a:gd name="connsiteY12" fmla="*/ 934846 h 1126442"/>
              <a:gd name="connsiteX13" fmla="*/ 115397 w 1225069"/>
              <a:gd name="connsiteY13" fmla="*/ 668208 h 1126442"/>
              <a:gd name="connsiteX14" fmla="*/ 71757 w 1225069"/>
              <a:gd name="connsiteY14" fmla="*/ 640094 h 1126442"/>
              <a:gd name="connsiteX15" fmla="*/ 61672 w 1225069"/>
              <a:gd name="connsiteY15" fmla="*/ 534416 h 1126442"/>
              <a:gd name="connsiteX16" fmla="*/ 0 w 1225069"/>
              <a:gd name="connsiteY16" fmla="*/ 466621 h 1126442"/>
              <a:gd name="connsiteX17" fmla="*/ 20579 w 1225069"/>
              <a:gd name="connsiteY17" fmla="*/ 368698 h 1126442"/>
              <a:gd name="connsiteX18" fmla="*/ 47727 w 1225069"/>
              <a:gd name="connsiteY18" fmla="*/ 195749 h 1126442"/>
              <a:gd name="connsiteX19" fmla="*/ 85770 w 1225069"/>
              <a:gd name="connsiteY19" fmla="*/ 91075 h 1126442"/>
              <a:gd name="connsiteX20" fmla="*/ 126477 w 1225069"/>
              <a:gd name="connsiteY20" fmla="*/ 15013 h 1126442"/>
              <a:gd name="connsiteX21" fmla="*/ 1173255 w 1225069"/>
              <a:gd name="connsiteY21" fmla="*/ 0 h 1126442"/>
              <a:gd name="connsiteX0" fmla="*/ 1173255 w 1225069"/>
              <a:gd name="connsiteY0" fmla="*/ 0 h 1126442"/>
              <a:gd name="connsiteX1" fmla="*/ 1150700 w 1225069"/>
              <a:gd name="connsiteY1" fmla="*/ 82082 h 1126442"/>
              <a:gd name="connsiteX2" fmla="*/ 1141155 w 1225069"/>
              <a:gd name="connsiteY2" fmla="*/ 139267 h 1126442"/>
              <a:gd name="connsiteX3" fmla="*/ 1153274 w 1225069"/>
              <a:gd name="connsiteY3" fmla="*/ 196024 h 1126442"/>
              <a:gd name="connsiteX4" fmla="*/ 1225069 w 1225069"/>
              <a:gd name="connsiteY4" fmla="*/ 305577 h 1126442"/>
              <a:gd name="connsiteX5" fmla="*/ 560727 w 1225069"/>
              <a:gd name="connsiteY5" fmla="*/ 1126442 h 1126442"/>
              <a:gd name="connsiteX6" fmla="*/ 486400 w 1225069"/>
              <a:gd name="connsiteY6" fmla="*/ 1111125 h 1126442"/>
              <a:gd name="connsiteX7" fmla="*/ 431837 w 1225069"/>
              <a:gd name="connsiteY7" fmla="*/ 1091580 h 1126442"/>
              <a:gd name="connsiteX8" fmla="*/ 344257 w 1225069"/>
              <a:gd name="connsiteY8" fmla="*/ 1059207 h 1126442"/>
              <a:gd name="connsiteX9" fmla="*/ 275567 w 1225069"/>
              <a:gd name="connsiteY9" fmla="*/ 1026866 h 1126442"/>
              <a:gd name="connsiteX10" fmla="*/ 221648 w 1225069"/>
              <a:gd name="connsiteY10" fmla="*/ 1006136 h 1126442"/>
              <a:gd name="connsiteX11" fmla="*/ 156603 w 1225069"/>
              <a:gd name="connsiteY11" fmla="*/ 972400 h 1126442"/>
              <a:gd name="connsiteX12" fmla="*/ 76702 w 1225069"/>
              <a:gd name="connsiteY12" fmla="*/ 765147 h 1126442"/>
              <a:gd name="connsiteX13" fmla="*/ 115397 w 1225069"/>
              <a:gd name="connsiteY13" fmla="*/ 668208 h 1126442"/>
              <a:gd name="connsiteX14" fmla="*/ 71757 w 1225069"/>
              <a:gd name="connsiteY14" fmla="*/ 640094 h 1126442"/>
              <a:gd name="connsiteX15" fmla="*/ 61672 w 1225069"/>
              <a:gd name="connsiteY15" fmla="*/ 534416 h 1126442"/>
              <a:gd name="connsiteX16" fmla="*/ 0 w 1225069"/>
              <a:gd name="connsiteY16" fmla="*/ 466621 h 1126442"/>
              <a:gd name="connsiteX17" fmla="*/ 20579 w 1225069"/>
              <a:gd name="connsiteY17" fmla="*/ 368698 h 1126442"/>
              <a:gd name="connsiteX18" fmla="*/ 47727 w 1225069"/>
              <a:gd name="connsiteY18" fmla="*/ 195749 h 1126442"/>
              <a:gd name="connsiteX19" fmla="*/ 85770 w 1225069"/>
              <a:gd name="connsiteY19" fmla="*/ 91075 h 1126442"/>
              <a:gd name="connsiteX20" fmla="*/ 126477 w 1225069"/>
              <a:gd name="connsiteY20" fmla="*/ 15013 h 1126442"/>
              <a:gd name="connsiteX21" fmla="*/ 1173255 w 1225069"/>
              <a:gd name="connsiteY21" fmla="*/ 0 h 1126442"/>
              <a:gd name="connsiteX0" fmla="*/ 1173255 w 1225069"/>
              <a:gd name="connsiteY0" fmla="*/ 0 h 1126442"/>
              <a:gd name="connsiteX1" fmla="*/ 1150700 w 1225069"/>
              <a:gd name="connsiteY1" fmla="*/ 82082 h 1126442"/>
              <a:gd name="connsiteX2" fmla="*/ 1141155 w 1225069"/>
              <a:gd name="connsiteY2" fmla="*/ 139267 h 1126442"/>
              <a:gd name="connsiteX3" fmla="*/ 1153274 w 1225069"/>
              <a:gd name="connsiteY3" fmla="*/ 196024 h 1126442"/>
              <a:gd name="connsiteX4" fmla="*/ 1225069 w 1225069"/>
              <a:gd name="connsiteY4" fmla="*/ 305577 h 1126442"/>
              <a:gd name="connsiteX5" fmla="*/ 560727 w 1225069"/>
              <a:gd name="connsiteY5" fmla="*/ 1126442 h 1126442"/>
              <a:gd name="connsiteX6" fmla="*/ 486400 w 1225069"/>
              <a:gd name="connsiteY6" fmla="*/ 1111125 h 1126442"/>
              <a:gd name="connsiteX7" fmla="*/ 431837 w 1225069"/>
              <a:gd name="connsiteY7" fmla="*/ 1091580 h 1126442"/>
              <a:gd name="connsiteX8" fmla="*/ 344257 w 1225069"/>
              <a:gd name="connsiteY8" fmla="*/ 1059207 h 1126442"/>
              <a:gd name="connsiteX9" fmla="*/ 275567 w 1225069"/>
              <a:gd name="connsiteY9" fmla="*/ 1026866 h 1126442"/>
              <a:gd name="connsiteX10" fmla="*/ 221648 w 1225069"/>
              <a:gd name="connsiteY10" fmla="*/ 1006136 h 1126442"/>
              <a:gd name="connsiteX11" fmla="*/ 91172 w 1225069"/>
              <a:gd name="connsiteY11" fmla="*/ 759242 h 1126442"/>
              <a:gd name="connsiteX12" fmla="*/ 76702 w 1225069"/>
              <a:gd name="connsiteY12" fmla="*/ 765147 h 1126442"/>
              <a:gd name="connsiteX13" fmla="*/ 115397 w 1225069"/>
              <a:gd name="connsiteY13" fmla="*/ 668208 h 1126442"/>
              <a:gd name="connsiteX14" fmla="*/ 71757 w 1225069"/>
              <a:gd name="connsiteY14" fmla="*/ 640094 h 1126442"/>
              <a:gd name="connsiteX15" fmla="*/ 61672 w 1225069"/>
              <a:gd name="connsiteY15" fmla="*/ 534416 h 1126442"/>
              <a:gd name="connsiteX16" fmla="*/ 0 w 1225069"/>
              <a:gd name="connsiteY16" fmla="*/ 466621 h 1126442"/>
              <a:gd name="connsiteX17" fmla="*/ 20579 w 1225069"/>
              <a:gd name="connsiteY17" fmla="*/ 368698 h 1126442"/>
              <a:gd name="connsiteX18" fmla="*/ 47727 w 1225069"/>
              <a:gd name="connsiteY18" fmla="*/ 195749 h 1126442"/>
              <a:gd name="connsiteX19" fmla="*/ 85770 w 1225069"/>
              <a:gd name="connsiteY19" fmla="*/ 91075 h 1126442"/>
              <a:gd name="connsiteX20" fmla="*/ 126477 w 1225069"/>
              <a:gd name="connsiteY20" fmla="*/ 15013 h 1126442"/>
              <a:gd name="connsiteX21" fmla="*/ 1173255 w 1225069"/>
              <a:gd name="connsiteY21" fmla="*/ 0 h 1126442"/>
              <a:gd name="connsiteX0" fmla="*/ 1173255 w 1225069"/>
              <a:gd name="connsiteY0" fmla="*/ 0 h 1126442"/>
              <a:gd name="connsiteX1" fmla="*/ 1150700 w 1225069"/>
              <a:gd name="connsiteY1" fmla="*/ 82082 h 1126442"/>
              <a:gd name="connsiteX2" fmla="*/ 1141155 w 1225069"/>
              <a:gd name="connsiteY2" fmla="*/ 139267 h 1126442"/>
              <a:gd name="connsiteX3" fmla="*/ 1153274 w 1225069"/>
              <a:gd name="connsiteY3" fmla="*/ 196024 h 1126442"/>
              <a:gd name="connsiteX4" fmla="*/ 1225069 w 1225069"/>
              <a:gd name="connsiteY4" fmla="*/ 305577 h 1126442"/>
              <a:gd name="connsiteX5" fmla="*/ 560727 w 1225069"/>
              <a:gd name="connsiteY5" fmla="*/ 1126442 h 1126442"/>
              <a:gd name="connsiteX6" fmla="*/ 486400 w 1225069"/>
              <a:gd name="connsiteY6" fmla="*/ 1111125 h 1126442"/>
              <a:gd name="connsiteX7" fmla="*/ 431837 w 1225069"/>
              <a:gd name="connsiteY7" fmla="*/ 1091580 h 1126442"/>
              <a:gd name="connsiteX8" fmla="*/ 344257 w 1225069"/>
              <a:gd name="connsiteY8" fmla="*/ 1059207 h 1126442"/>
              <a:gd name="connsiteX9" fmla="*/ 275567 w 1225069"/>
              <a:gd name="connsiteY9" fmla="*/ 1026866 h 1126442"/>
              <a:gd name="connsiteX10" fmla="*/ 221648 w 1225069"/>
              <a:gd name="connsiteY10" fmla="*/ 1006136 h 1126442"/>
              <a:gd name="connsiteX11" fmla="*/ 91172 w 1225069"/>
              <a:gd name="connsiteY11" fmla="*/ 759242 h 1126442"/>
              <a:gd name="connsiteX12" fmla="*/ 76702 w 1225069"/>
              <a:gd name="connsiteY12" fmla="*/ 765147 h 1126442"/>
              <a:gd name="connsiteX13" fmla="*/ 115397 w 1225069"/>
              <a:gd name="connsiteY13" fmla="*/ 668208 h 1126442"/>
              <a:gd name="connsiteX14" fmla="*/ 71757 w 1225069"/>
              <a:gd name="connsiteY14" fmla="*/ 640094 h 1126442"/>
              <a:gd name="connsiteX15" fmla="*/ 61672 w 1225069"/>
              <a:gd name="connsiteY15" fmla="*/ 534416 h 1126442"/>
              <a:gd name="connsiteX16" fmla="*/ 0 w 1225069"/>
              <a:gd name="connsiteY16" fmla="*/ 466621 h 1126442"/>
              <a:gd name="connsiteX17" fmla="*/ 31485 w 1225069"/>
              <a:gd name="connsiteY17" fmla="*/ 273501 h 1126442"/>
              <a:gd name="connsiteX18" fmla="*/ 47727 w 1225069"/>
              <a:gd name="connsiteY18" fmla="*/ 195749 h 1126442"/>
              <a:gd name="connsiteX19" fmla="*/ 85770 w 1225069"/>
              <a:gd name="connsiteY19" fmla="*/ 91075 h 1126442"/>
              <a:gd name="connsiteX20" fmla="*/ 126477 w 1225069"/>
              <a:gd name="connsiteY20" fmla="*/ 15013 h 1126442"/>
              <a:gd name="connsiteX21" fmla="*/ 1173255 w 1225069"/>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197111 w 1200532"/>
              <a:gd name="connsiteY10" fmla="*/ 1006136 h 1126442"/>
              <a:gd name="connsiteX11" fmla="*/ 66635 w 1200532"/>
              <a:gd name="connsiteY11" fmla="*/ 759242 h 1126442"/>
              <a:gd name="connsiteX12" fmla="*/ 52165 w 1200532"/>
              <a:gd name="connsiteY12" fmla="*/ 765147 h 1126442"/>
              <a:gd name="connsiteX13" fmla="*/ 90860 w 1200532"/>
              <a:gd name="connsiteY13" fmla="*/ 668208 h 1126442"/>
              <a:gd name="connsiteX14" fmla="*/ 47220 w 1200532"/>
              <a:gd name="connsiteY14" fmla="*/ 640094 h 1126442"/>
              <a:gd name="connsiteX15" fmla="*/ 37135 w 1200532"/>
              <a:gd name="connsiteY15" fmla="*/ 534416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197111 w 1200532"/>
              <a:gd name="connsiteY10" fmla="*/ 1006136 h 1126442"/>
              <a:gd name="connsiteX11" fmla="*/ 66635 w 1200532"/>
              <a:gd name="connsiteY11" fmla="*/ 759242 h 1126442"/>
              <a:gd name="connsiteX12" fmla="*/ 52165 w 1200532"/>
              <a:gd name="connsiteY12" fmla="*/ 765147 h 1126442"/>
              <a:gd name="connsiteX13" fmla="*/ 90860 w 1200532"/>
              <a:gd name="connsiteY13" fmla="*/ 668208 h 1126442"/>
              <a:gd name="connsiteX14" fmla="*/ 47220 w 1200532"/>
              <a:gd name="connsiteY14" fmla="*/ 640094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197111 w 1200532"/>
              <a:gd name="connsiteY10" fmla="*/ 1006136 h 1126442"/>
              <a:gd name="connsiteX11" fmla="*/ 66635 w 1200532"/>
              <a:gd name="connsiteY11" fmla="*/ 759242 h 1126442"/>
              <a:gd name="connsiteX12" fmla="*/ 52165 w 1200532"/>
              <a:gd name="connsiteY12" fmla="*/ 765147 h 1126442"/>
              <a:gd name="connsiteX13" fmla="*/ 90860 w 1200532"/>
              <a:gd name="connsiteY13" fmla="*/ 668208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197111 w 1200532"/>
              <a:gd name="connsiteY10" fmla="*/ 1006136 h 1126442"/>
              <a:gd name="connsiteX11" fmla="*/ 66635 w 1200532"/>
              <a:gd name="connsiteY11" fmla="*/ 759242 h 1126442"/>
              <a:gd name="connsiteX12" fmla="*/ 52165 w 1200532"/>
              <a:gd name="connsiteY12" fmla="*/ 765147 h 1126442"/>
              <a:gd name="connsiteX13" fmla="*/ 22702 w 1200532"/>
              <a:gd name="connsiteY13" fmla="*/ 645443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197111 w 1200532"/>
              <a:gd name="connsiteY10" fmla="*/ 1006136 h 1126442"/>
              <a:gd name="connsiteX11" fmla="*/ 66635 w 1200532"/>
              <a:gd name="connsiteY11" fmla="*/ 759242 h 1126442"/>
              <a:gd name="connsiteX12" fmla="*/ 35807 w 1200532"/>
              <a:gd name="connsiteY12" fmla="*/ 713409 h 1126442"/>
              <a:gd name="connsiteX13" fmla="*/ 22702 w 1200532"/>
              <a:gd name="connsiteY13" fmla="*/ 645443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251030 w 1200532"/>
              <a:gd name="connsiteY9" fmla="*/ 1026866 h 1126442"/>
              <a:gd name="connsiteX10" fmla="*/ 82607 w 1200532"/>
              <a:gd name="connsiteY10" fmla="*/ 807464 h 1126442"/>
              <a:gd name="connsiteX11" fmla="*/ 66635 w 1200532"/>
              <a:gd name="connsiteY11" fmla="*/ 759242 h 1126442"/>
              <a:gd name="connsiteX12" fmla="*/ 35807 w 1200532"/>
              <a:gd name="connsiteY12" fmla="*/ 713409 h 1126442"/>
              <a:gd name="connsiteX13" fmla="*/ 22702 w 1200532"/>
              <a:gd name="connsiteY13" fmla="*/ 645443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319720 w 1200532"/>
              <a:gd name="connsiteY8" fmla="*/ 1059207 h 1126442"/>
              <a:gd name="connsiteX9" fmla="*/ 103810 w 1200532"/>
              <a:gd name="connsiteY9" fmla="*/ 867515 h 1126442"/>
              <a:gd name="connsiteX10" fmla="*/ 82607 w 1200532"/>
              <a:gd name="connsiteY10" fmla="*/ 807464 h 1126442"/>
              <a:gd name="connsiteX11" fmla="*/ 66635 w 1200532"/>
              <a:gd name="connsiteY11" fmla="*/ 759242 h 1126442"/>
              <a:gd name="connsiteX12" fmla="*/ 35807 w 1200532"/>
              <a:gd name="connsiteY12" fmla="*/ 713409 h 1126442"/>
              <a:gd name="connsiteX13" fmla="*/ 22702 w 1200532"/>
              <a:gd name="connsiteY13" fmla="*/ 645443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407300 w 1200532"/>
              <a:gd name="connsiteY7" fmla="*/ 1091580 h 1126442"/>
              <a:gd name="connsiteX8" fmla="*/ 134332 w 1200532"/>
              <a:gd name="connsiteY8" fmla="*/ 899856 h 1126442"/>
              <a:gd name="connsiteX9" fmla="*/ 103810 w 1200532"/>
              <a:gd name="connsiteY9" fmla="*/ 867515 h 1126442"/>
              <a:gd name="connsiteX10" fmla="*/ 82607 w 1200532"/>
              <a:gd name="connsiteY10" fmla="*/ 807464 h 1126442"/>
              <a:gd name="connsiteX11" fmla="*/ 66635 w 1200532"/>
              <a:gd name="connsiteY11" fmla="*/ 759242 h 1126442"/>
              <a:gd name="connsiteX12" fmla="*/ 35807 w 1200532"/>
              <a:gd name="connsiteY12" fmla="*/ 713409 h 1126442"/>
              <a:gd name="connsiteX13" fmla="*/ 22702 w 1200532"/>
              <a:gd name="connsiteY13" fmla="*/ 645443 h 1126442"/>
              <a:gd name="connsiteX14" fmla="*/ 873 w 1200532"/>
              <a:gd name="connsiteY14" fmla="*/ 546967 h 1126442"/>
              <a:gd name="connsiteX15" fmla="*/ 9872 w 1200532"/>
              <a:gd name="connsiteY15" fmla="*/ 470262 h 1126442"/>
              <a:gd name="connsiteX16" fmla="*/ 0 w 1200532"/>
              <a:gd name="connsiteY16" fmla="*/ 373493 h 1126442"/>
              <a:gd name="connsiteX17" fmla="*/ 6948 w 1200532"/>
              <a:gd name="connsiteY17" fmla="*/ 273501 h 1126442"/>
              <a:gd name="connsiteX18" fmla="*/ 23190 w 1200532"/>
              <a:gd name="connsiteY18" fmla="*/ 195749 h 1126442"/>
              <a:gd name="connsiteX19" fmla="*/ 61233 w 1200532"/>
              <a:gd name="connsiteY19" fmla="*/ 91075 h 1126442"/>
              <a:gd name="connsiteX20" fmla="*/ 101940 w 1200532"/>
              <a:gd name="connsiteY20" fmla="*/ 15013 h 1126442"/>
              <a:gd name="connsiteX21" fmla="*/ 1148718 w 1200532"/>
              <a:gd name="connsiteY21"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461863 w 1200532"/>
              <a:gd name="connsiteY6" fmla="*/ 1111125 h 1126442"/>
              <a:gd name="connsiteX7" fmla="*/ 134332 w 1200532"/>
              <a:gd name="connsiteY7" fmla="*/ 899856 h 1126442"/>
              <a:gd name="connsiteX8" fmla="*/ 103810 w 1200532"/>
              <a:gd name="connsiteY8" fmla="*/ 867515 h 1126442"/>
              <a:gd name="connsiteX9" fmla="*/ 82607 w 1200532"/>
              <a:gd name="connsiteY9" fmla="*/ 807464 h 1126442"/>
              <a:gd name="connsiteX10" fmla="*/ 66635 w 1200532"/>
              <a:gd name="connsiteY10" fmla="*/ 759242 h 1126442"/>
              <a:gd name="connsiteX11" fmla="*/ 35807 w 1200532"/>
              <a:gd name="connsiteY11" fmla="*/ 713409 h 1126442"/>
              <a:gd name="connsiteX12" fmla="*/ 22702 w 1200532"/>
              <a:gd name="connsiteY12" fmla="*/ 645443 h 1126442"/>
              <a:gd name="connsiteX13" fmla="*/ 873 w 1200532"/>
              <a:gd name="connsiteY13" fmla="*/ 546967 h 1126442"/>
              <a:gd name="connsiteX14" fmla="*/ 9872 w 1200532"/>
              <a:gd name="connsiteY14" fmla="*/ 470262 h 1126442"/>
              <a:gd name="connsiteX15" fmla="*/ 0 w 1200532"/>
              <a:gd name="connsiteY15" fmla="*/ 373493 h 1126442"/>
              <a:gd name="connsiteX16" fmla="*/ 6948 w 1200532"/>
              <a:gd name="connsiteY16" fmla="*/ 273501 h 1126442"/>
              <a:gd name="connsiteX17" fmla="*/ 23190 w 1200532"/>
              <a:gd name="connsiteY17" fmla="*/ 195749 h 1126442"/>
              <a:gd name="connsiteX18" fmla="*/ 61233 w 1200532"/>
              <a:gd name="connsiteY18" fmla="*/ 91075 h 1126442"/>
              <a:gd name="connsiteX19" fmla="*/ 101940 w 1200532"/>
              <a:gd name="connsiteY19" fmla="*/ 15013 h 1126442"/>
              <a:gd name="connsiteX20" fmla="*/ 1148718 w 1200532"/>
              <a:gd name="connsiteY20" fmla="*/ 0 h 1126442"/>
              <a:gd name="connsiteX0" fmla="*/ 1148718 w 1200532"/>
              <a:gd name="connsiteY0" fmla="*/ 0 h 1126442"/>
              <a:gd name="connsiteX1" fmla="*/ 1126163 w 1200532"/>
              <a:gd name="connsiteY1" fmla="*/ 82082 h 1126442"/>
              <a:gd name="connsiteX2" fmla="*/ 1116618 w 1200532"/>
              <a:gd name="connsiteY2" fmla="*/ 139267 h 1126442"/>
              <a:gd name="connsiteX3" fmla="*/ 1128737 w 1200532"/>
              <a:gd name="connsiteY3" fmla="*/ 196024 h 1126442"/>
              <a:gd name="connsiteX4" fmla="*/ 1200532 w 1200532"/>
              <a:gd name="connsiteY4" fmla="*/ 305577 h 1126442"/>
              <a:gd name="connsiteX5" fmla="*/ 536190 w 1200532"/>
              <a:gd name="connsiteY5" fmla="*/ 1126442 h 1126442"/>
              <a:gd name="connsiteX6" fmla="*/ 134332 w 1200532"/>
              <a:gd name="connsiteY6" fmla="*/ 899856 h 1126442"/>
              <a:gd name="connsiteX7" fmla="*/ 103810 w 1200532"/>
              <a:gd name="connsiteY7" fmla="*/ 867515 h 1126442"/>
              <a:gd name="connsiteX8" fmla="*/ 82607 w 1200532"/>
              <a:gd name="connsiteY8" fmla="*/ 807464 h 1126442"/>
              <a:gd name="connsiteX9" fmla="*/ 66635 w 1200532"/>
              <a:gd name="connsiteY9" fmla="*/ 759242 h 1126442"/>
              <a:gd name="connsiteX10" fmla="*/ 35807 w 1200532"/>
              <a:gd name="connsiteY10" fmla="*/ 713409 h 1126442"/>
              <a:gd name="connsiteX11" fmla="*/ 22702 w 1200532"/>
              <a:gd name="connsiteY11" fmla="*/ 645443 h 1126442"/>
              <a:gd name="connsiteX12" fmla="*/ 873 w 1200532"/>
              <a:gd name="connsiteY12" fmla="*/ 546967 h 1126442"/>
              <a:gd name="connsiteX13" fmla="*/ 9872 w 1200532"/>
              <a:gd name="connsiteY13" fmla="*/ 470262 h 1126442"/>
              <a:gd name="connsiteX14" fmla="*/ 0 w 1200532"/>
              <a:gd name="connsiteY14" fmla="*/ 373493 h 1126442"/>
              <a:gd name="connsiteX15" fmla="*/ 6948 w 1200532"/>
              <a:gd name="connsiteY15" fmla="*/ 273501 h 1126442"/>
              <a:gd name="connsiteX16" fmla="*/ 23190 w 1200532"/>
              <a:gd name="connsiteY16" fmla="*/ 195749 h 1126442"/>
              <a:gd name="connsiteX17" fmla="*/ 61233 w 1200532"/>
              <a:gd name="connsiteY17" fmla="*/ 91075 h 1126442"/>
              <a:gd name="connsiteX18" fmla="*/ 101940 w 1200532"/>
              <a:gd name="connsiteY18" fmla="*/ 15013 h 1126442"/>
              <a:gd name="connsiteX19" fmla="*/ 1148718 w 1200532"/>
              <a:gd name="connsiteY19" fmla="*/ 0 h 1126442"/>
              <a:gd name="connsiteX0" fmla="*/ 1148718 w 1200532"/>
              <a:gd name="connsiteY0" fmla="*/ 0 h 942257"/>
              <a:gd name="connsiteX1" fmla="*/ 1126163 w 1200532"/>
              <a:gd name="connsiteY1" fmla="*/ 82082 h 942257"/>
              <a:gd name="connsiteX2" fmla="*/ 1116618 w 1200532"/>
              <a:gd name="connsiteY2" fmla="*/ 139267 h 942257"/>
              <a:gd name="connsiteX3" fmla="*/ 1128737 w 1200532"/>
              <a:gd name="connsiteY3" fmla="*/ 196024 h 942257"/>
              <a:gd name="connsiteX4" fmla="*/ 1200532 w 1200532"/>
              <a:gd name="connsiteY4" fmla="*/ 305577 h 942257"/>
              <a:gd name="connsiteX5" fmla="*/ 151783 w 1200532"/>
              <a:gd name="connsiteY5" fmla="*/ 942257 h 942257"/>
              <a:gd name="connsiteX6" fmla="*/ 134332 w 1200532"/>
              <a:gd name="connsiteY6" fmla="*/ 899856 h 942257"/>
              <a:gd name="connsiteX7" fmla="*/ 103810 w 1200532"/>
              <a:gd name="connsiteY7" fmla="*/ 867515 h 942257"/>
              <a:gd name="connsiteX8" fmla="*/ 82607 w 1200532"/>
              <a:gd name="connsiteY8" fmla="*/ 807464 h 942257"/>
              <a:gd name="connsiteX9" fmla="*/ 66635 w 1200532"/>
              <a:gd name="connsiteY9" fmla="*/ 759242 h 942257"/>
              <a:gd name="connsiteX10" fmla="*/ 35807 w 1200532"/>
              <a:gd name="connsiteY10" fmla="*/ 713409 h 942257"/>
              <a:gd name="connsiteX11" fmla="*/ 22702 w 1200532"/>
              <a:gd name="connsiteY11" fmla="*/ 645443 h 942257"/>
              <a:gd name="connsiteX12" fmla="*/ 873 w 1200532"/>
              <a:gd name="connsiteY12" fmla="*/ 546967 h 942257"/>
              <a:gd name="connsiteX13" fmla="*/ 9872 w 1200532"/>
              <a:gd name="connsiteY13" fmla="*/ 470262 h 942257"/>
              <a:gd name="connsiteX14" fmla="*/ 0 w 1200532"/>
              <a:gd name="connsiteY14" fmla="*/ 373493 h 942257"/>
              <a:gd name="connsiteX15" fmla="*/ 6948 w 1200532"/>
              <a:gd name="connsiteY15" fmla="*/ 273501 h 942257"/>
              <a:gd name="connsiteX16" fmla="*/ 23190 w 1200532"/>
              <a:gd name="connsiteY16" fmla="*/ 195749 h 942257"/>
              <a:gd name="connsiteX17" fmla="*/ 61233 w 1200532"/>
              <a:gd name="connsiteY17" fmla="*/ 91075 h 942257"/>
              <a:gd name="connsiteX18" fmla="*/ 101940 w 1200532"/>
              <a:gd name="connsiteY18" fmla="*/ 15013 h 942257"/>
              <a:gd name="connsiteX19" fmla="*/ 1148718 w 1200532"/>
              <a:gd name="connsiteY19" fmla="*/ 0 h 942257"/>
              <a:gd name="connsiteX0" fmla="*/ 1148718 w 1200532"/>
              <a:gd name="connsiteY0" fmla="*/ 0 h 942257"/>
              <a:gd name="connsiteX1" fmla="*/ 1126163 w 1200532"/>
              <a:gd name="connsiteY1" fmla="*/ 82082 h 942257"/>
              <a:gd name="connsiteX2" fmla="*/ 1116618 w 1200532"/>
              <a:gd name="connsiteY2" fmla="*/ 139267 h 942257"/>
              <a:gd name="connsiteX3" fmla="*/ 1128737 w 1200532"/>
              <a:gd name="connsiteY3" fmla="*/ 196024 h 942257"/>
              <a:gd name="connsiteX4" fmla="*/ 1200532 w 1200532"/>
              <a:gd name="connsiteY4" fmla="*/ 305577 h 942257"/>
              <a:gd name="connsiteX5" fmla="*/ 151783 w 1200532"/>
              <a:gd name="connsiteY5" fmla="*/ 942257 h 942257"/>
              <a:gd name="connsiteX6" fmla="*/ 134332 w 1200532"/>
              <a:gd name="connsiteY6" fmla="*/ 899856 h 942257"/>
              <a:gd name="connsiteX7" fmla="*/ 87453 w 1200532"/>
              <a:gd name="connsiteY7" fmla="*/ 832334 h 942257"/>
              <a:gd name="connsiteX8" fmla="*/ 82607 w 1200532"/>
              <a:gd name="connsiteY8" fmla="*/ 807464 h 942257"/>
              <a:gd name="connsiteX9" fmla="*/ 66635 w 1200532"/>
              <a:gd name="connsiteY9" fmla="*/ 759242 h 942257"/>
              <a:gd name="connsiteX10" fmla="*/ 35807 w 1200532"/>
              <a:gd name="connsiteY10" fmla="*/ 713409 h 942257"/>
              <a:gd name="connsiteX11" fmla="*/ 22702 w 1200532"/>
              <a:gd name="connsiteY11" fmla="*/ 645443 h 942257"/>
              <a:gd name="connsiteX12" fmla="*/ 873 w 1200532"/>
              <a:gd name="connsiteY12" fmla="*/ 546967 h 942257"/>
              <a:gd name="connsiteX13" fmla="*/ 9872 w 1200532"/>
              <a:gd name="connsiteY13" fmla="*/ 470262 h 942257"/>
              <a:gd name="connsiteX14" fmla="*/ 0 w 1200532"/>
              <a:gd name="connsiteY14" fmla="*/ 373493 h 942257"/>
              <a:gd name="connsiteX15" fmla="*/ 6948 w 1200532"/>
              <a:gd name="connsiteY15" fmla="*/ 273501 h 942257"/>
              <a:gd name="connsiteX16" fmla="*/ 23190 w 1200532"/>
              <a:gd name="connsiteY16" fmla="*/ 195749 h 942257"/>
              <a:gd name="connsiteX17" fmla="*/ 61233 w 1200532"/>
              <a:gd name="connsiteY17" fmla="*/ 91075 h 942257"/>
              <a:gd name="connsiteX18" fmla="*/ 101940 w 1200532"/>
              <a:gd name="connsiteY18" fmla="*/ 15013 h 942257"/>
              <a:gd name="connsiteX19" fmla="*/ 1148718 w 1200532"/>
              <a:gd name="connsiteY19" fmla="*/ 0 h 942257"/>
              <a:gd name="connsiteX0" fmla="*/ 1148718 w 1200532"/>
              <a:gd name="connsiteY0" fmla="*/ 0 h 942257"/>
              <a:gd name="connsiteX1" fmla="*/ 1126163 w 1200532"/>
              <a:gd name="connsiteY1" fmla="*/ 82082 h 942257"/>
              <a:gd name="connsiteX2" fmla="*/ 1116618 w 1200532"/>
              <a:gd name="connsiteY2" fmla="*/ 139267 h 942257"/>
              <a:gd name="connsiteX3" fmla="*/ 1128737 w 1200532"/>
              <a:gd name="connsiteY3" fmla="*/ 196024 h 942257"/>
              <a:gd name="connsiteX4" fmla="*/ 1200532 w 1200532"/>
              <a:gd name="connsiteY4" fmla="*/ 305577 h 942257"/>
              <a:gd name="connsiteX5" fmla="*/ 151783 w 1200532"/>
              <a:gd name="connsiteY5" fmla="*/ 942257 h 942257"/>
              <a:gd name="connsiteX6" fmla="*/ 104342 w 1200532"/>
              <a:gd name="connsiteY6" fmla="*/ 858466 h 942257"/>
              <a:gd name="connsiteX7" fmla="*/ 87453 w 1200532"/>
              <a:gd name="connsiteY7" fmla="*/ 832334 h 942257"/>
              <a:gd name="connsiteX8" fmla="*/ 82607 w 1200532"/>
              <a:gd name="connsiteY8" fmla="*/ 807464 h 942257"/>
              <a:gd name="connsiteX9" fmla="*/ 66635 w 1200532"/>
              <a:gd name="connsiteY9" fmla="*/ 759242 h 942257"/>
              <a:gd name="connsiteX10" fmla="*/ 35807 w 1200532"/>
              <a:gd name="connsiteY10" fmla="*/ 713409 h 942257"/>
              <a:gd name="connsiteX11" fmla="*/ 22702 w 1200532"/>
              <a:gd name="connsiteY11" fmla="*/ 645443 h 942257"/>
              <a:gd name="connsiteX12" fmla="*/ 873 w 1200532"/>
              <a:gd name="connsiteY12" fmla="*/ 546967 h 942257"/>
              <a:gd name="connsiteX13" fmla="*/ 9872 w 1200532"/>
              <a:gd name="connsiteY13" fmla="*/ 470262 h 942257"/>
              <a:gd name="connsiteX14" fmla="*/ 0 w 1200532"/>
              <a:gd name="connsiteY14" fmla="*/ 373493 h 942257"/>
              <a:gd name="connsiteX15" fmla="*/ 6948 w 1200532"/>
              <a:gd name="connsiteY15" fmla="*/ 273501 h 942257"/>
              <a:gd name="connsiteX16" fmla="*/ 23190 w 1200532"/>
              <a:gd name="connsiteY16" fmla="*/ 195749 h 942257"/>
              <a:gd name="connsiteX17" fmla="*/ 61233 w 1200532"/>
              <a:gd name="connsiteY17" fmla="*/ 91075 h 942257"/>
              <a:gd name="connsiteX18" fmla="*/ 101940 w 1200532"/>
              <a:gd name="connsiteY18" fmla="*/ 15013 h 942257"/>
              <a:gd name="connsiteX19" fmla="*/ 1148718 w 1200532"/>
              <a:gd name="connsiteY19" fmla="*/ 0 h 942257"/>
              <a:gd name="connsiteX0" fmla="*/ 1148718 w 1200532"/>
              <a:gd name="connsiteY0" fmla="*/ 0 h 1108143"/>
              <a:gd name="connsiteX1" fmla="*/ 1126163 w 1200532"/>
              <a:gd name="connsiteY1" fmla="*/ 82082 h 1108143"/>
              <a:gd name="connsiteX2" fmla="*/ 1116618 w 1200532"/>
              <a:gd name="connsiteY2" fmla="*/ 139267 h 1108143"/>
              <a:gd name="connsiteX3" fmla="*/ 1128737 w 1200532"/>
              <a:gd name="connsiteY3" fmla="*/ 196024 h 1108143"/>
              <a:gd name="connsiteX4" fmla="*/ 1200532 w 1200532"/>
              <a:gd name="connsiteY4" fmla="*/ 305577 h 1108143"/>
              <a:gd name="connsiteX5" fmla="*/ 280254 w 1200532"/>
              <a:gd name="connsiteY5" fmla="*/ 1108143 h 1108143"/>
              <a:gd name="connsiteX6" fmla="*/ 104342 w 1200532"/>
              <a:gd name="connsiteY6" fmla="*/ 858466 h 1108143"/>
              <a:gd name="connsiteX7" fmla="*/ 87453 w 1200532"/>
              <a:gd name="connsiteY7" fmla="*/ 832334 h 1108143"/>
              <a:gd name="connsiteX8" fmla="*/ 82607 w 1200532"/>
              <a:gd name="connsiteY8" fmla="*/ 807464 h 1108143"/>
              <a:gd name="connsiteX9" fmla="*/ 66635 w 1200532"/>
              <a:gd name="connsiteY9" fmla="*/ 759242 h 1108143"/>
              <a:gd name="connsiteX10" fmla="*/ 35807 w 1200532"/>
              <a:gd name="connsiteY10" fmla="*/ 713409 h 1108143"/>
              <a:gd name="connsiteX11" fmla="*/ 22702 w 1200532"/>
              <a:gd name="connsiteY11" fmla="*/ 645443 h 1108143"/>
              <a:gd name="connsiteX12" fmla="*/ 873 w 1200532"/>
              <a:gd name="connsiteY12" fmla="*/ 546967 h 1108143"/>
              <a:gd name="connsiteX13" fmla="*/ 9872 w 1200532"/>
              <a:gd name="connsiteY13" fmla="*/ 470262 h 1108143"/>
              <a:gd name="connsiteX14" fmla="*/ 0 w 1200532"/>
              <a:gd name="connsiteY14" fmla="*/ 373493 h 1108143"/>
              <a:gd name="connsiteX15" fmla="*/ 6948 w 1200532"/>
              <a:gd name="connsiteY15" fmla="*/ 273501 h 1108143"/>
              <a:gd name="connsiteX16" fmla="*/ 23190 w 1200532"/>
              <a:gd name="connsiteY16" fmla="*/ 195749 h 1108143"/>
              <a:gd name="connsiteX17" fmla="*/ 61233 w 1200532"/>
              <a:gd name="connsiteY17" fmla="*/ 91075 h 1108143"/>
              <a:gd name="connsiteX18" fmla="*/ 101940 w 1200532"/>
              <a:gd name="connsiteY18" fmla="*/ 15013 h 1108143"/>
              <a:gd name="connsiteX19" fmla="*/ 1148718 w 1200532"/>
              <a:gd name="connsiteY19" fmla="*/ 0 h 1108143"/>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104342 w 1200532"/>
              <a:gd name="connsiteY6" fmla="*/ 858466 h 1149364"/>
              <a:gd name="connsiteX7" fmla="*/ 87453 w 1200532"/>
              <a:gd name="connsiteY7" fmla="*/ 832334 h 1149364"/>
              <a:gd name="connsiteX8" fmla="*/ 82607 w 1200532"/>
              <a:gd name="connsiteY8" fmla="*/ 807464 h 1149364"/>
              <a:gd name="connsiteX9" fmla="*/ 66635 w 1200532"/>
              <a:gd name="connsiteY9" fmla="*/ 759242 h 1149364"/>
              <a:gd name="connsiteX10" fmla="*/ 35807 w 1200532"/>
              <a:gd name="connsiteY10" fmla="*/ 713409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87453 w 1200532"/>
              <a:gd name="connsiteY7" fmla="*/ 832334 h 1149364"/>
              <a:gd name="connsiteX8" fmla="*/ 82607 w 1200532"/>
              <a:gd name="connsiteY8" fmla="*/ 807464 h 1149364"/>
              <a:gd name="connsiteX9" fmla="*/ 66635 w 1200532"/>
              <a:gd name="connsiteY9" fmla="*/ 759242 h 1149364"/>
              <a:gd name="connsiteX10" fmla="*/ 35807 w 1200532"/>
              <a:gd name="connsiteY10" fmla="*/ 713409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82607 w 1200532"/>
              <a:gd name="connsiteY8" fmla="*/ 807464 h 1149364"/>
              <a:gd name="connsiteX9" fmla="*/ 66635 w 1200532"/>
              <a:gd name="connsiteY9" fmla="*/ 759242 h 1149364"/>
              <a:gd name="connsiteX10" fmla="*/ 35807 w 1200532"/>
              <a:gd name="connsiteY10" fmla="*/ 713409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66635 w 1200532"/>
              <a:gd name="connsiteY9" fmla="*/ 759242 h 1149364"/>
              <a:gd name="connsiteX10" fmla="*/ 35807 w 1200532"/>
              <a:gd name="connsiteY10" fmla="*/ 713409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35807 w 1200532"/>
              <a:gd name="connsiteY10" fmla="*/ 713409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22702 w 1200532"/>
              <a:gd name="connsiteY11" fmla="*/ 645443 h 1149364"/>
              <a:gd name="connsiteX12" fmla="*/ 873 w 1200532"/>
              <a:gd name="connsiteY12" fmla="*/ 546967 h 1149364"/>
              <a:gd name="connsiteX13" fmla="*/ 9872 w 1200532"/>
              <a:gd name="connsiteY13" fmla="*/ 470262 h 1149364"/>
              <a:gd name="connsiteX14" fmla="*/ 0 w 1200532"/>
              <a:gd name="connsiteY14" fmla="*/ 373493 h 1149364"/>
              <a:gd name="connsiteX15" fmla="*/ 6948 w 1200532"/>
              <a:gd name="connsiteY15" fmla="*/ 273501 h 1149364"/>
              <a:gd name="connsiteX16" fmla="*/ 23190 w 1200532"/>
              <a:gd name="connsiteY16" fmla="*/ 195749 h 1149364"/>
              <a:gd name="connsiteX17" fmla="*/ 61233 w 1200532"/>
              <a:gd name="connsiteY17" fmla="*/ 91075 h 1149364"/>
              <a:gd name="connsiteX18" fmla="*/ 101940 w 1200532"/>
              <a:gd name="connsiteY18" fmla="*/ 15013 h 1149364"/>
              <a:gd name="connsiteX19" fmla="*/ 1148718 w 1200532"/>
              <a:gd name="connsiteY19"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59304 h 1149364"/>
              <a:gd name="connsiteX12" fmla="*/ 22702 w 1200532"/>
              <a:gd name="connsiteY12" fmla="*/ 645443 h 1149364"/>
              <a:gd name="connsiteX13" fmla="*/ 873 w 1200532"/>
              <a:gd name="connsiteY13" fmla="*/ 546967 h 1149364"/>
              <a:gd name="connsiteX14" fmla="*/ 9872 w 1200532"/>
              <a:gd name="connsiteY14" fmla="*/ 470262 h 1149364"/>
              <a:gd name="connsiteX15" fmla="*/ 0 w 1200532"/>
              <a:gd name="connsiteY15" fmla="*/ 373493 h 1149364"/>
              <a:gd name="connsiteX16" fmla="*/ 6948 w 1200532"/>
              <a:gd name="connsiteY16" fmla="*/ 273501 h 1149364"/>
              <a:gd name="connsiteX17" fmla="*/ 23190 w 1200532"/>
              <a:gd name="connsiteY17" fmla="*/ 195749 h 1149364"/>
              <a:gd name="connsiteX18" fmla="*/ 61233 w 1200532"/>
              <a:gd name="connsiteY18" fmla="*/ 91075 h 1149364"/>
              <a:gd name="connsiteX19" fmla="*/ 101940 w 1200532"/>
              <a:gd name="connsiteY19" fmla="*/ 15013 h 1149364"/>
              <a:gd name="connsiteX20" fmla="*/ 1148718 w 1200532"/>
              <a:gd name="connsiteY20"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22702 w 1200532"/>
              <a:gd name="connsiteY12" fmla="*/ 645443 h 1149364"/>
              <a:gd name="connsiteX13" fmla="*/ 873 w 1200532"/>
              <a:gd name="connsiteY13" fmla="*/ 546967 h 1149364"/>
              <a:gd name="connsiteX14" fmla="*/ 9872 w 1200532"/>
              <a:gd name="connsiteY14" fmla="*/ 470262 h 1149364"/>
              <a:gd name="connsiteX15" fmla="*/ 0 w 1200532"/>
              <a:gd name="connsiteY15" fmla="*/ 373493 h 1149364"/>
              <a:gd name="connsiteX16" fmla="*/ 6948 w 1200532"/>
              <a:gd name="connsiteY16" fmla="*/ 273501 h 1149364"/>
              <a:gd name="connsiteX17" fmla="*/ 23190 w 1200532"/>
              <a:gd name="connsiteY17" fmla="*/ 195749 h 1149364"/>
              <a:gd name="connsiteX18" fmla="*/ 61233 w 1200532"/>
              <a:gd name="connsiteY18" fmla="*/ 91075 h 1149364"/>
              <a:gd name="connsiteX19" fmla="*/ 101940 w 1200532"/>
              <a:gd name="connsiteY19" fmla="*/ 15013 h 1149364"/>
              <a:gd name="connsiteX20" fmla="*/ 1148718 w 1200532"/>
              <a:gd name="connsiteY20"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9588 w 1200532"/>
              <a:gd name="connsiteY12" fmla="*/ 790939 h 1149364"/>
              <a:gd name="connsiteX13" fmla="*/ 22702 w 1200532"/>
              <a:gd name="connsiteY13" fmla="*/ 645443 h 1149364"/>
              <a:gd name="connsiteX14" fmla="*/ 873 w 1200532"/>
              <a:gd name="connsiteY14" fmla="*/ 546967 h 1149364"/>
              <a:gd name="connsiteX15" fmla="*/ 9872 w 1200532"/>
              <a:gd name="connsiteY15" fmla="*/ 470262 h 1149364"/>
              <a:gd name="connsiteX16" fmla="*/ 0 w 1200532"/>
              <a:gd name="connsiteY16" fmla="*/ 373493 h 1149364"/>
              <a:gd name="connsiteX17" fmla="*/ 6948 w 1200532"/>
              <a:gd name="connsiteY17" fmla="*/ 273501 h 1149364"/>
              <a:gd name="connsiteX18" fmla="*/ 23190 w 1200532"/>
              <a:gd name="connsiteY18" fmla="*/ 195749 h 1149364"/>
              <a:gd name="connsiteX19" fmla="*/ 61233 w 1200532"/>
              <a:gd name="connsiteY19" fmla="*/ 91075 h 1149364"/>
              <a:gd name="connsiteX20" fmla="*/ 101940 w 1200532"/>
              <a:gd name="connsiteY20" fmla="*/ 15013 h 1149364"/>
              <a:gd name="connsiteX21" fmla="*/ 1148718 w 1200532"/>
              <a:gd name="connsiteY21"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0317 w 1200532"/>
              <a:gd name="connsiteY12" fmla="*/ 793955 h 1149364"/>
              <a:gd name="connsiteX13" fmla="*/ 22702 w 1200532"/>
              <a:gd name="connsiteY13" fmla="*/ 645443 h 1149364"/>
              <a:gd name="connsiteX14" fmla="*/ 873 w 1200532"/>
              <a:gd name="connsiteY14" fmla="*/ 546967 h 1149364"/>
              <a:gd name="connsiteX15" fmla="*/ 9872 w 1200532"/>
              <a:gd name="connsiteY15" fmla="*/ 470262 h 1149364"/>
              <a:gd name="connsiteX16" fmla="*/ 0 w 1200532"/>
              <a:gd name="connsiteY16" fmla="*/ 373493 h 1149364"/>
              <a:gd name="connsiteX17" fmla="*/ 6948 w 1200532"/>
              <a:gd name="connsiteY17" fmla="*/ 273501 h 1149364"/>
              <a:gd name="connsiteX18" fmla="*/ 23190 w 1200532"/>
              <a:gd name="connsiteY18" fmla="*/ 195749 h 1149364"/>
              <a:gd name="connsiteX19" fmla="*/ 61233 w 1200532"/>
              <a:gd name="connsiteY19" fmla="*/ 91075 h 1149364"/>
              <a:gd name="connsiteX20" fmla="*/ 101940 w 1200532"/>
              <a:gd name="connsiteY20" fmla="*/ 15013 h 1149364"/>
              <a:gd name="connsiteX21" fmla="*/ 1148718 w 1200532"/>
              <a:gd name="connsiteY21"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0317 w 1200532"/>
              <a:gd name="connsiteY12" fmla="*/ 793955 h 1149364"/>
              <a:gd name="connsiteX13" fmla="*/ 50450 w 1200532"/>
              <a:gd name="connsiteY13" fmla="*/ 725590 h 1149364"/>
              <a:gd name="connsiteX14" fmla="*/ 22702 w 1200532"/>
              <a:gd name="connsiteY14" fmla="*/ 645443 h 1149364"/>
              <a:gd name="connsiteX15" fmla="*/ 873 w 1200532"/>
              <a:gd name="connsiteY15" fmla="*/ 546967 h 1149364"/>
              <a:gd name="connsiteX16" fmla="*/ 9872 w 1200532"/>
              <a:gd name="connsiteY16" fmla="*/ 470262 h 1149364"/>
              <a:gd name="connsiteX17" fmla="*/ 0 w 1200532"/>
              <a:gd name="connsiteY17" fmla="*/ 373493 h 1149364"/>
              <a:gd name="connsiteX18" fmla="*/ 6948 w 1200532"/>
              <a:gd name="connsiteY18" fmla="*/ 273501 h 1149364"/>
              <a:gd name="connsiteX19" fmla="*/ 23190 w 1200532"/>
              <a:gd name="connsiteY19" fmla="*/ 195749 h 1149364"/>
              <a:gd name="connsiteX20" fmla="*/ 61233 w 1200532"/>
              <a:gd name="connsiteY20" fmla="*/ 91075 h 1149364"/>
              <a:gd name="connsiteX21" fmla="*/ 101940 w 1200532"/>
              <a:gd name="connsiteY21" fmla="*/ 15013 h 1149364"/>
              <a:gd name="connsiteX22" fmla="*/ 1148718 w 1200532"/>
              <a:gd name="connsiteY22"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0317 w 1200532"/>
              <a:gd name="connsiteY12" fmla="*/ 793955 h 1149364"/>
              <a:gd name="connsiteX13" fmla="*/ 43827 w 1200532"/>
              <a:gd name="connsiteY13" fmla="*/ 725590 h 1149364"/>
              <a:gd name="connsiteX14" fmla="*/ 22702 w 1200532"/>
              <a:gd name="connsiteY14" fmla="*/ 645443 h 1149364"/>
              <a:gd name="connsiteX15" fmla="*/ 873 w 1200532"/>
              <a:gd name="connsiteY15" fmla="*/ 546967 h 1149364"/>
              <a:gd name="connsiteX16" fmla="*/ 9872 w 1200532"/>
              <a:gd name="connsiteY16" fmla="*/ 470262 h 1149364"/>
              <a:gd name="connsiteX17" fmla="*/ 0 w 1200532"/>
              <a:gd name="connsiteY17" fmla="*/ 373493 h 1149364"/>
              <a:gd name="connsiteX18" fmla="*/ 6948 w 1200532"/>
              <a:gd name="connsiteY18" fmla="*/ 273501 h 1149364"/>
              <a:gd name="connsiteX19" fmla="*/ 23190 w 1200532"/>
              <a:gd name="connsiteY19" fmla="*/ 195749 h 1149364"/>
              <a:gd name="connsiteX20" fmla="*/ 61233 w 1200532"/>
              <a:gd name="connsiteY20" fmla="*/ 91075 h 1149364"/>
              <a:gd name="connsiteX21" fmla="*/ 101940 w 1200532"/>
              <a:gd name="connsiteY21" fmla="*/ 15013 h 1149364"/>
              <a:gd name="connsiteX22" fmla="*/ 1148718 w 1200532"/>
              <a:gd name="connsiteY22"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0317 w 1200532"/>
              <a:gd name="connsiteY12" fmla="*/ 793955 h 1149364"/>
              <a:gd name="connsiteX13" fmla="*/ 43827 w 1200532"/>
              <a:gd name="connsiteY13" fmla="*/ 725590 h 1149364"/>
              <a:gd name="connsiteX14" fmla="*/ 17404 w 1200532"/>
              <a:gd name="connsiteY14" fmla="*/ 647454 h 1149364"/>
              <a:gd name="connsiteX15" fmla="*/ 873 w 1200532"/>
              <a:gd name="connsiteY15" fmla="*/ 546967 h 1149364"/>
              <a:gd name="connsiteX16" fmla="*/ 9872 w 1200532"/>
              <a:gd name="connsiteY16" fmla="*/ 470262 h 1149364"/>
              <a:gd name="connsiteX17" fmla="*/ 0 w 1200532"/>
              <a:gd name="connsiteY17" fmla="*/ 373493 h 1149364"/>
              <a:gd name="connsiteX18" fmla="*/ 6948 w 1200532"/>
              <a:gd name="connsiteY18" fmla="*/ 273501 h 1149364"/>
              <a:gd name="connsiteX19" fmla="*/ 23190 w 1200532"/>
              <a:gd name="connsiteY19" fmla="*/ 195749 h 1149364"/>
              <a:gd name="connsiteX20" fmla="*/ 61233 w 1200532"/>
              <a:gd name="connsiteY20" fmla="*/ 91075 h 1149364"/>
              <a:gd name="connsiteX21" fmla="*/ 101940 w 1200532"/>
              <a:gd name="connsiteY21" fmla="*/ 15013 h 1149364"/>
              <a:gd name="connsiteX22" fmla="*/ 1148718 w 1200532"/>
              <a:gd name="connsiteY22" fmla="*/ 0 h 1149364"/>
              <a:gd name="connsiteX0" fmla="*/ 1148718 w 1200532"/>
              <a:gd name="connsiteY0" fmla="*/ 0 h 1149364"/>
              <a:gd name="connsiteX1" fmla="*/ 1126163 w 1200532"/>
              <a:gd name="connsiteY1" fmla="*/ 82082 h 1149364"/>
              <a:gd name="connsiteX2" fmla="*/ 1116618 w 1200532"/>
              <a:gd name="connsiteY2" fmla="*/ 139267 h 1149364"/>
              <a:gd name="connsiteX3" fmla="*/ 1128737 w 1200532"/>
              <a:gd name="connsiteY3" fmla="*/ 196024 h 1149364"/>
              <a:gd name="connsiteX4" fmla="*/ 1200532 w 1200532"/>
              <a:gd name="connsiteY4" fmla="*/ 305577 h 1149364"/>
              <a:gd name="connsiteX5" fmla="*/ 333232 w 1200532"/>
              <a:gd name="connsiteY5" fmla="*/ 1149364 h 1149364"/>
              <a:gd name="connsiteX6" fmla="*/ 277844 w 1200532"/>
              <a:gd name="connsiteY6" fmla="*/ 1092718 h 1149364"/>
              <a:gd name="connsiteX7" fmla="*/ 237115 w 1200532"/>
              <a:gd name="connsiteY7" fmla="*/ 1048489 h 1149364"/>
              <a:gd name="connsiteX8" fmla="*/ 205781 w 1200532"/>
              <a:gd name="connsiteY8" fmla="*/ 1013565 h 1149364"/>
              <a:gd name="connsiteX9" fmla="*/ 175240 w 1200532"/>
              <a:gd name="connsiteY9" fmla="*/ 973386 h 1149364"/>
              <a:gd name="connsiteX10" fmla="*/ 144411 w 1200532"/>
              <a:gd name="connsiteY10" fmla="*/ 926548 h 1149364"/>
              <a:gd name="connsiteX11" fmla="*/ 116672 w 1200532"/>
              <a:gd name="connsiteY11" fmla="*/ 876396 h 1149364"/>
              <a:gd name="connsiteX12" fmla="*/ 70317 w 1200532"/>
              <a:gd name="connsiteY12" fmla="*/ 793955 h 1149364"/>
              <a:gd name="connsiteX13" fmla="*/ 43827 w 1200532"/>
              <a:gd name="connsiteY13" fmla="*/ 725590 h 1149364"/>
              <a:gd name="connsiteX14" fmla="*/ 17404 w 1200532"/>
              <a:gd name="connsiteY14" fmla="*/ 647454 h 1149364"/>
              <a:gd name="connsiteX15" fmla="*/ 873 w 1200532"/>
              <a:gd name="connsiteY15" fmla="*/ 557021 h 1149364"/>
              <a:gd name="connsiteX16" fmla="*/ 9872 w 1200532"/>
              <a:gd name="connsiteY16" fmla="*/ 470262 h 1149364"/>
              <a:gd name="connsiteX17" fmla="*/ 0 w 1200532"/>
              <a:gd name="connsiteY17" fmla="*/ 373493 h 1149364"/>
              <a:gd name="connsiteX18" fmla="*/ 6948 w 1200532"/>
              <a:gd name="connsiteY18" fmla="*/ 273501 h 1149364"/>
              <a:gd name="connsiteX19" fmla="*/ 23190 w 1200532"/>
              <a:gd name="connsiteY19" fmla="*/ 195749 h 1149364"/>
              <a:gd name="connsiteX20" fmla="*/ 61233 w 1200532"/>
              <a:gd name="connsiteY20" fmla="*/ 91075 h 1149364"/>
              <a:gd name="connsiteX21" fmla="*/ 101940 w 1200532"/>
              <a:gd name="connsiteY21" fmla="*/ 15013 h 1149364"/>
              <a:gd name="connsiteX22" fmla="*/ 1148718 w 1200532"/>
              <a:gd name="connsiteY22" fmla="*/ 0 h 1149364"/>
              <a:gd name="connsiteX0" fmla="*/ 1154739 w 1206553"/>
              <a:gd name="connsiteY0" fmla="*/ 0 h 1149364"/>
              <a:gd name="connsiteX1" fmla="*/ 1132184 w 1206553"/>
              <a:gd name="connsiteY1" fmla="*/ 82082 h 1149364"/>
              <a:gd name="connsiteX2" fmla="*/ 1122639 w 1206553"/>
              <a:gd name="connsiteY2" fmla="*/ 139267 h 1149364"/>
              <a:gd name="connsiteX3" fmla="*/ 1134758 w 1206553"/>
              <a:gd name="connsiteY3" fmla="*/ 196024 h 1149364"/>
              <a:gd name="connsiteX4" fmla="*/ 1206553 w 1206553"/>
              <a:gd name="connsiteY4" fmla="*/ 305577 h 1149364"/>
              <a:gd name="connsiteX5" fmla="*/ 339253 w 1206553"/>
              <a:gd name="connsiteY5" fmla="*/ 1149364 h 1149364"/>
              <a:gd name="connsiteX6" fmla="*/ 283865 w 1206553"/>
              <a:gd name="connsiteY6" fmla="*/ 1092718 h 1149364"/>
              <a:gd name="connsiteX7" fmla="*/ 243136 w 1206553"/>
              <a:gd name="connsiteY7" fmla="*/ 1048489 h 1149364"/>
              <a:gd name="connsiteX8" fmla="*/ 211802 w 1206553"/>
              <a:gd name="connsiteY8" fmla="*/ 1013565 h 1149364"/>
              <a:gd name="connsiteX9" fmla="*/ 181261 w 1206553"/>
              <a:gd name="connsiteY9" fmla="*/ 973386 h 1149364"/>
              <a:gd name="connsiteX10" fmla="*/ 150432 w 1206553"/>
              <a:gd name="connsiteY10" fmla="*/ 926548 h 1149364"/>
              <a:gd name="connsiteX11" fmla="*/ 122693 w 1206553"/>
              <a:gd name="connsiteY11" fmla="*/ 876396 h 1149364"/>
              <a:gd name="connsiteX12" fmla="*/ 76338 w 1206553"/>
              <a:gd name="connsiteY12" fmla="*/ 793955 h 1149364"/>
              <a:gd name="connsiteX13" fmla="*/ 49848 w 1206553"/>
              <a:gd name="connsiteY13" fmla="*/ 725590 h 1149364"/>
              <a:gd name="connsiteX14" fmla="*/ 23425 w 1206553"/>
              <a:gd name="connsiteY14" fmla="*/ 647454 h 1149364"/>
              <a:gd name="connsiteX15" fmla="*/ 6894 w 1206553"/>
              <a:gd name="connsiteY15" fmla="*/ 557021 h 1149364"/>
              <a:gd name="connsiteX16" fmla="*/ 0 w 1206553"/>
              <a:gd name="connsiteY16" fmla="*/ 490369 h 1149364"/>
              <a:gd name="connsiteX17" fmla="*/ 6021 w 1206553"/>
              <a:gd name="connsiteY17" fmla="*/ 373493 h 1149364"/>
              <a:gd name="connsiteX18" fmla="*/ 12969 w 1206553"/>
              <a:gd name="connsiteY18" fmla="*/ 273501 h 1149364"/>
              <a:gd name="connsiteX19" fmla="*/ 29211 w 1206553"/>
              <a:gd name="connsiteY19" fmla="*/ 195749 h 1149364"/>
              <a:gd name="connsiteX20" fmla="*/ 67254 w 1206553"/>
              <a:gd name="connsiteY20" fmla="*/ 91075 h 1149364"/>
              <a:gd name="connsiteX21" fmla="*/ 107961 w 1206553"/>
              <a:gd name="connsiteY21" fmla="*/ 15013 h 1149364"/>
              <a:gd name="connsiteX22" fmla="*/ 1154739 w 1206553"/>
              <a:gd name="connsiteY22" fmla="*/ 0 h 1149364"/>
              <a:gd name="connsiteX0" fmla="*/ 1154739 w 1206553"/>
              <a:gd name="connsiteY0" fmla="*/ 0 h 1149364"/>
              <a:gd name="connsiteX1" fmla="*/ 1132184 w 1206553"/>
              <a:gd name="connsiteY1" fmla="*/ 82082 h 1149364"/>
              <a:gd name="connsiteX2" fmla="*/ 1122639 w 1206553"/>
              <a:gd name="connsiteY2" fmla="*/ 139267 h 1149364"/>
              <a:gd name="connsiteX3" fmla="*/ 1134758 w 1206553"/>
              <a:gd name="connsiteY3" fmla="*/ 196024 h 1149364"/>
              <a:gd name="connsiteX4" fmla="*/ 1206553 w 1206553"/>
              <a:gd name="connsiteY4" fmla="*/ 305577 h 1149364"/>
              <a:gd name="connsiteX5" fmla="*/ 339253 w 1206553"/>
              <a:gd name="connsiteY5" fmla="*/ 1149364 h 1149364"/>
              <a:gd name="connsiteX6" fmla="*/ 283865 w 1206553"/>
              <a:gd name="connsiteY6" fmla="*/ 1092718 h 1149364"/>
              <a:gd name="connsiteX7" fmla="*/ 243136 w 1206553"/>
              <a:gd name="connsiteY7" fmla="*/ 1048489 h 1149364"/>
              <a:gd name="connsiteX8" fmla="*/ 211802 w 1206553"/>
              <a:gd name="connsiteY8" fmla="*/ 1013565 h 1149364"/>
              <a:gd name="connsiteX9" fmla="*/ 181261 w 1206553"/>
              <a:gd name="connsiteY9" fmla="*/ 973386 h 1149364"/>
              <a:gd name="connsiteX10" fmla="*/ 150432 w 1206553"/>
              <a:gd name="connsiteY10" fmla="*/ 926548 h 1149364"/>
              <a:gd name="connsiteX11" fmla="*/ 122693 w 1206553"/>
              <a:gd name="connsiteY11" fmla="*/ 876396 h 1149364"/>
              <a:gd name="connsiteX12" fmla="*/ 76338 w 1206553"/>
              <a:gd name="connsiteY12" fmla="*/ 793955 h 1149364"/>
              <a:gd name="connsiteX13" fmla="*/ 49848 w 1206553"/>
              <a:gd name="connsiteY13" fmla="*/ 725590 h 1149364"/>
              <a:gd name="connsiteX14" fmla="*/ 23425 w 1206553"/>
              <a:gd name="connsiteY14" fmla="*/ 647454 h 1149364"/>
              <a:gd name="connsiteX15" fmla="*/ 6894 w 1206553"/>
              <a:gd name="connsiteY15" fmla="*/ 557021 h 1149364"/>
              <a:gd name="connsiteX16" fmla="*/ 0 w 1206553"/>
              <a:gd name="connsiteY16" fmla="*/ 490369 h 1149364"/>
              <a:gd name="connsiteX17" fmla="*/ 4817 w 1206553"/>
              <a:gd name="connsiteY17" fmla="*/ 418952 h 1149364"/>
              <a:gd name="connsiteX18" fmla="*/ 6021 w 1206553"/>
              <a:gd name="connsiteY18" fmla="*/ 373493 h 1149364"/>
              <a:gd name="connsiteX19" fmla="*/ 12969 w 1206553"/>
              <a:gd name="connsiteY19" fmla="*/ 273501 h 1149364"/>
              <a:gd name="connsiteX20" fmla="*/ 29211 w 1206553"/>
              <a:gd name="connsiteY20" fmla="*/ 195749 h 1149364"/>
              <a:gd name="connsiteX21" fmla="*/ 67254 w 1206553"/>
              <a:gd name="connsiteY21" fmla="*/ 91075 h 1149364"/>
              <a:gd name="connsiteX22" fmla="*/ 107961 w 1206553"/>
              <a:gd name="connsiteY22" fmla="*/ 15013 h 1149364"/>
              <a:gd name="connsiteX23" fmla="*/ 1154739 w 1206553"/>
              <a:gd name="connsiteY23"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7826 w 1208358"/>
              <a:gd name="connsiteY18" fmla="*/ 373493 h 1149364"/>
              <a:gd name="connsiteX19" fmla="*/ 14774 w 1208358"/>
              <a:gd name="connsiteY19" fmla="*/ 273501 h 1149364"/>
              <a:gd name="connsiteX20" fmla="*/ 31016 w 1208358"/>
              <a:gd name="connsiteY20" fmla="*/ 195749 h 1149364"/>
              <a:gd name="connsiteX21" fmla="*/ 69059 w 1208358"/>
              <a:gd name="connsiteY21" fmla="*/ 91075 h 1149364"/>
              <a:gd name="connsiteX22" fmla="*/ 109766 w 1208358"/>
              <a:gd name="connsiteY22" fmla="*/ 15013 h 1149364"/>
              <a:gd name="connsiteX23" fmla="*/ 1156544 w 1208358"/>
              <a:gd name="connsiteY23"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4774 w 1208358"/>
              <a:gd name="connsiteY19" fmla="*/ 273501 h 1149364"/>
              <a:gd name="connsiteX20" fmla="*/ 31016 w 1208358"/>
              <a:gd name="connsiteY20" fmla="*/ 195749 h 1149364"/>
              <a:gd name="connsiteX21" fmla="*/ 69059 w 1208358"/>
              <a:gd name="connsiteY21" fmla="*/ 91075 h 1149364"/>
              <a:gd name="connsiteX22" fmla="*/ 109766 w 1208358"/>
              <a:gd name="connsiteY22" fmla="*/ 15013 h 1149364"/>
              <a:gd name="connsiteX23" fmla="*/ 1156544 w 1208358"/>
              <a:gd name="connsiteY23"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31016 w 1208358"/>
              <a:gd name="connsiteY20" fmla="*/ 195749 h 1149364"/>
              <a:gd name="connsiteX21" fmla="*/ 69059 w 1208358"/>
              <a:gd name="connsiteY21" fmla="*/ 91075 h 1149364"/>
              <a:gd name="connsiteX22" fmla="*/ 109766 w 1208358"/>
              <a:gd name="connsiteY22" fmla="*/ 15013 h 1149364"/>
              <a:gd name="connsiteX23" fmla="*/ 1156544 w 1208358"/>
              <a:gd name="connsiteY23"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69059 w 1208358"/>
              <a:gd name="connsiteY21" fmla="*/ 91075 h 1149364"/>
              <a:gd name="connsiteX22" fmla="*/ 109766 w 1208358"/>
              <a:gd name="connsiteY22" fmla="*/ 15013 h 1149364"/>
              <a:gd name="connsiteX23" fmla="*/ 1156544 w 1208358"/>
              <a:gd name="connsiteY23"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5627 w 1208358"/>
              <a:gd name="connsiteY21" fmla="*/ 131415 h 1149364"/>
              <a:gd name="connsiteX22" fmla="*/ 69059 w 1208358"/>
              <a:gd name="connsiteY22" fmla="*/ 91075 h 1149364"/>
              <a:gd name="connsiteX23" fmla="*/ 109766 w 1208358"/>
              <a:gd name="connsiteY23" fmla="*/ 15013 h 1149364"/>
              <a:gd name="connsiteX24" fmla="*/ 1156544 w 1208358"/>
              <a:gd name="connsiteY24"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1654 w 1208358"/>
              <a:gd name="connsiteY21" fmla="*/ 127394 h 1149364"/>
              <a:gd name="connsiteX22" fmla="*/ 69059 w 1208358"/>
              <a:gd name="connsiteY22" fmla="*/ 91075 h 1149364"/>
              <a:gd name="connsiteX23" fmla="*/ 109766 w 1208358"/>
              <a:gd name="connsiteY23" fmla="*/ 15013 h 1149364"/>
              <a:gd name="connsiteX24" fmla="*/ 1156544 w 1208358"/>
              <a:gd name="connsiteY24"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1654 w 1208358"/>
              <a:gd name="connsiteY21" fmla="*/ 127394 h 1149364"/>
              <a:gd name="connsiteX22" fmla="*/ 66410 w 1208358"/>
              <a:gd name="connsiteY22" fmla="*/ 88059 h 1149364"/>
              <a:gd name="connsiteX23" fmla="*/ 109766 w 1208358"/>
              <a:gd name="connsiteY23" fmla="*/ 15013 h 1149364"/>
              <a:gd name="connsiteX24" fmla="*/ 1156544 w 1208358"/>
              <a:gd name="connsiteY24"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1654 w 1208358"/>
              <a:gd name="connsiteY21" fmla="*/ 127394 h 1149364"/>
              <a:gd name="connsiteX22" fmla="*/ 66410 w 1208358"/>
              <a:gd name="connsiteY22" fmla="*/ 88059 h 1149364"/>
              <a:gd name="connsiteX23" fmla="*/ 95360 w 1208358"/>
              <a:gd name="connsiteY23" fmla="*/ 38921 h 1149364"/>
              <a:gd name="connsiteX24" fmla="*/ 109766 w 1208358"/>
              <a:gd name="connsiteY24" fmla="*/ 15013 h 1149364"/>
              <a:gd name="connsiteX25" fmla="*/ 1156544 w 1208358"/>
              <a:gd name="connsiteY25"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1654 w 1208358"/>
              <a:gd name="connsiteY21" fmla="*/ 127394 h 1149364"/>
              <a:gd name="connsiteX22" fmla="*/ 66410 w 1208358"/>
              <a:gd name="connsiteY22" fmla="*/ 88059 h 1149364"/>
              <a:gd name="connsiteX23" fmla="*/ 88738 w 1208358"/>
              <a:gd name="connsiteY23" fmla="*/ 38921 h 1149364"/>
              <a:gd name="connsiteX24" fmla="*/ 109766 w 1208358"/>
              <a:gd name="connsiteY24" fmla="*/ 15013 h 1149364"/>
              <a:gd name="connsiteX25" fmla="*/ 1156544 w 1208358"/>
              <a:gd name="connsiteY25" fmla="*/ 0 h 1149364"/>
              <a:gd name="connsiteX0" fmla="*/ 1156544 w 1208358"/>
              <a:gd name="connsiteY0" fmla="*/ 0 h 1149364"/>
              <a:gd name="connsiteX1" fmla="*/ 1133989 w 1208358"/>
              <a:gd name="connsiteY1" fmla="*/ 82082 h 1149364"/>
              <a:gd name="connsiteX2" fmla="*/ 1124444 w 1208358"/>
              <a:gd name="connsiteY2" fmla="*/ 139267 h 1149364"/>
              <a:gd name="connsiteX3" fmla="*/ 1136563 w 1208358"/>
              <a:gd name="connsiteY3" fmla="*/ 196024 h 1149364"/>
              <a:gd name="connsiteX4" fmla="*/ 1208358 w 1208358"/>
              <a:gd name="connsiteY4" fmla="*/ 305577 h 1149364"/>
              <a:gd name="connsiteX5" fmla="*/ 341058 w 1208358"/>
              <a:gd name="connsiteY5" fmla="*/ 1149364 h 1149364"/>
              <a:gd name="connsiteX6" fmla="*/ 285670 w 1208358"/>
              <a:gd name="connsiteY6" fmla="*/ 1092718 h 1149364"/>
              <a:gd name="connsiteX7" fmla="*/ 244941 w 1208358"/>
              <a:gd name="connsiteY7" fmla="*/ 1048489 h 1149364"/>
              <a:gd name="connsiteX8" fmla="*/ 213607 w 1208358"/>
              <a:gd name="connsiteY8" fmla="*/ 1013565 h 1149364"/>
              <a:gd name="connsiteX9" fmla="*/ 183066 w 1208358"/>
              <a:gd name="connsiteY9" fmla="*/ 973386 h 1149364"/>
              <a:gd name="connsiteX10" fmla="*/ 152237 w 1208358"/>
              <a:gd name="connsiteY10" fmla="*/ 926548 h 1149364"/>
              <a:gd name="connsiteX11" fmla="*/ 124498 w 1208358"/>
              <a:gd name="connsiteY11" fmla="*/ 876396 h 1149364"/>
              <a:gd name="connsiteX12" fmla="*/ 78143 w 1208358"/>
              <a:gd name="connsiteY12" fmla="*/ 793955 h 1149364"/>
              <a:gd name="connsiteX13" fmla="*/ 51653 w 1208358"/>
              <a:gd name="connsiteY13" fmla="*/ 725590 h 1149364"/>
              <a:gd name="connsiteX14" fmla="*/ 25230 w 1208358"/>
              <a:gd name="connsiteY14" fmla="*/ 647454 h 1149364"/>
              <a:gd name="connsiteX15" fmla="*/ 8699 w 1208358"/>
              <a:gd name="connsiteY15" fmla="*/ 557021 h 1149364"/>
              <a:gd name="connsiteX16" fmla="*/ 1805 w 1208358"/>
              <a:gd name="connsiteY16" fmla="*/ 490369 h 1149364"/>
              <a:gd name="connsiteX17" fmla="*/ 0 w 1208358"/>
              <a:gd name="connsiteY17" fmla="*/ 418952 h 1149364"/>
              <a:gd name="connsiteX18" fmla="*/ 3853 w 1208358"/>
              <a:gd name="connsiteY18" fmla="*/ 358413 h 1149364"/>
              <a:gd name="connsiteX19" fmla="*/ 12125 w 1208358"/>
              <a:gd name="connsiteY19" fmla="*/ 270485 h 1149364"/>
              <a:gd name="connsiteX20" fmla="*/ 28367 w 1208358"/>
              <a:gd name="connsiteY20" fmla="*/ 198765 h 1149364"/>
              <a:gd name="connsiteX21" fmla="*/ 51654 w 1208358"/>
              <a:gd name="connsiteY21" fmla="*/ 127394 h 1149364"/>
              <a:gd name="connsiteX22" fmla="*/ 66410 w 1208358"/>
              <a:gd name="connsiteY22" fmla="*/ 88059 h 1149364"/>
              <a:gd name="connsiteX23" fmla="*/ 88738 w 1208358"/>
              <a:gd name="connsiteY23" fmla="*/ 38921 h 1149364"/>
              <a:gd name="connsiteX24" fmla="*/ 113739 w 1208358"/>
              <a:gd name="connsiteY24" fmla="*/ 9986 h 1149364"/>
              <a:gd name="connsiteX25" fmla="*/ 1156544 w 1208358"/>
              <a:gd name="connsiteY25"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311665 w 1311665"/>
              <a:gd name="connsiteY4" fmla="*/ 369921 h 1149364"/>
              <a:gd name="connsiteX5" fmla="*/ 341058 w 1311665"/>
              <a:gd name="connsiteY5" fmla="*/ 1149364 h 1149364"/>
              <a:gd name="connsiteX6" fmla="*/ 285670 w 1311665"/>
              <a:gd name="connsiteY6" fmla="*/ 1092718 h 1149364"/>
              <a:gd name="connsiteX7" fmla="*/ 244941 w 1311665"/>
              <a:gd name="connsiteY7" fmla="*/ 1048489 h 1149364"/>
              <a:gd name="connsiteX8" fmla="*/ 213607 w 1311665"/>
              <a:gd name="connsiteY8" fmla="*/ 1013565 h 1149364"/>
              <a:gd name="connsiteX9" fmla="*/ 183066 w 1311665"/>
              <a:gd name="connsiteY9" fmla="*/ 973386 h 1149364"/>
              <a:gd name="connsiteX10" fmla="*/ 152237 w 1311665"/>
              <a:gd name="connsiteY10" fmla="*/ 926548 h 1149364"/>
              <a:gd name="connsiteX11" fmla="*/ 124498 w 1311665"/>
              <a:gd name="connsiteY11" fmla="*/ 876396 h 1149364"/>
              <a:gd name="connsiteX12" fmla="*/ 78143 w 1311665"/>
              <a:gd name="connsiteY12" fmla="*/ 793955 h 1149364"/>
              <a:gd name="connsiteX13" fmla="*/ 51653 w 1311665"/>
              <a:gd name="connsiteY13" fmla="*/ 725590 h 1149364"/>
              <a:gd name="connsiteX14" fmla="*/ 25230 w 1311665"/>
              <a:gd name="connsiteY14" fmla="*/ 647454 h 1149364"/>
              <a:gd name="connsiteX15" fmla="*/ 8699 w 1311665"/>
              <a:gd name="connsiteY15" fmla="*/ 557021 h 1149364"/>
              <a:gd name="connsiteX16" fmla="*/ 1805 w 1311665"/>
              <a:gd name="connsiteY16" fmla="*/ 490369 h 1149364"/>
              <a:gd name="connsiteX17" fmla="*/ 0 w 1311665"/>
              <a:gd name="connsiteY17" fmla="*/ 418952 h 1149364"/>
              <a:gd name="connsiteX18" fmla="*/ 3853 w 1311665"/>
              <a:gd name="connsiteY18" fmla="*/ 358413 h 1149364"/>
              <a:gd name="connsiteX19" fmla="*/ 12125 w 1311665"/>
              <a:gd name="connsiteY19" fmla="*/ 270485 h 1149364"/>
              <a:gd name="connsiteX20" fmla="*/ 28367 w 1311665"/>
              <a:gd name="connsiteY20" fmla="*/ 198765 h 1149364"/>
              <a:gd name="connsiteX21" fmla="*/ 51654 w 1311665"/>
              <a:gd name="connsiteY21" fmla="*/ 127394 h 1149364"/>
              <a:gd name="connsiteX22" fmla="*/ 66410 w 1311665"/>
              <a:gd name="connsiteY22" fmla="*/ 88059 h 1149364"/>
              <a:gd name="connsiteX23" fmla="*/ 88738 w 1311665"/>
              <a:gd name="connsiteY23" fmla="*/ 38921 h 1149364"/>
              <a:gd name="connsiteX24" fmla="*/ 113739 w 1311665"/>
              <a:gd name="connsiteY24" fmla="*/ 9986 h 1149364"/>
              <a:gd name="connsiteX25" fmla="*/ 1156544 w 1311665"/>
              <a:gd name="connsiteY25"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241005 w 1311665"/>
              <a:gd name="connsiteY4" fmla="*/ 297301 h 1149364"/>
              <a:gd name="connsiteX5" fmla="*/ 1311665 w 1311665"/>
              <a:gd name="connsiteY5" fmla="*/ 369921 h 1149364"/>
              <a:gd name="connsiteX6" fmla="*/ 341058 w 1311665"/>
              <a:gd name="connsiteY6" fmla="*/ 1149364 h 1149364"/>
              <a:gd name="connsiteX7" fmla="*/ 285670 w 1311665"/>
              <a:gd name="connsiteY7" fmla="*/ 1092718 h 1149364"/>
              <a:gd name="connsiteX8" fmla="*/ 244941 w 1311665"/>
              <a:gd name="connsiteY8" fmla="*/ 1048489 h 1149364"/>
              <a:gd name="connsiteX9" fmla="*/ 213607 w 1311665"/>
              <a:gd name="connsiteY9" fmla="*/ 1013565 h 1149364"/>
              <a:gd name="connsiteX10" fmla="*/ 183066 w 1311665"/>
              <a:gd name="connsiteY10" fmla="*/ 973386 h 1149364"/>
              <a:gd name="connsiteX11" fmla="*/ 152237 w 1311665"/>
              <a:gd name="connsiteY11" fmla="*/ 926548 h 1149364"/>
              <a:gd name="connsiteX12" fmla="*/ 124498 w 1311665"/>
              <a:gd name="connsiteY12" fmla="*/ 876396 h 1149364"/>
              <a:gd name="connsiteX13" fmla="*/ 78143 w 1311665"/>
              <a:gd name="connsiteY13" fmla="*/ 793955 h 1149364"/>
              <a:gd name="connsiteX14" fmla="*/ 51653 w 1311665"/>
              <a:gd name="connsiteY14" fmla="*/ 725590 h 1149364"/>
              <a:gd name="connsiteX15" fmla="*/ 25230 w 1311665"/>
              <a:gd name="connsiteY15" fmla="*/ 647454 h 1149364"/>
              <a:gd name="connsiteX16" fmla="*/ 8699 w 1311665"/>
              <a:gd name="connsiteY16" fmla="*/ 557021 h 1149364"/>
              <a:gd name="connsiteX17" fmla="*/ 1805 w 1311665"/>
              <a:gd name="connsiteY17" fmla="*/ 490369 h 1149364"/>
              <a:gd name="connsiteX18" fmla="*/ 0 w 1311665"/>
              <a:gd name="connsiteY18" fmla="*/ 418952 h 1149364"/>
              <a:gd name="connsiteX19" fmla="*/ 3853 w 1311665"/>
              <a:gd name="connsiteY19" fmla="*/ 358413 h 1149364"/>
              <a:gd name="connsiteX20" fmla="*/ 12125 w 1311665"/>
              <a:gd name="connsiteY20" fmla="*/ 270485 h 1149364"/>
              <a:gd name="connsiteX21" fmla="*/ 28367 w 1311665"/>
              <a:gd name="connsiteY21" fmla="*/ 198765 h 1149364"/>
              <a:gd name="connsiteX22" fmla="*/ 51654 w 1311665"/>
              <a:gd name="connsiteY22" fmla="*/ 127394 h 1149364"/>
              <a:gd name="connsiteX23" fmla="*/ 66410 w 1311665"/>
              <a:gd name="connsiteY23" fmla="*/ 88059 h 1149364"/>
              <a:gd name="connsiteX24" fmla="*/ 88738 w 1311665"/>
              <a:gd name="connsiteY24" fmla="*/ 38921 h 1149364"/>
              <a:gd name="connsiteX25" fmla="*/ 113739 w 1311665"/>
              <a:gd name="connsiteY25" fmla="*/ 9986 h 1149364"/>
              <a:gd name="connsiteX26" fmla="*/ 1156544 w 1311665"/>
              <a:gd name="connsiteY26"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256898 w 1311665"/>
              <a:gd name="connsiteY4" fmla="*/ 332489 h 1149364"/>
              <a:gd name="connsiteX5" fmla="*/ 1311665 w 1311665"/>
              <a:gd name="connsiteY5" fmla="*/ 369921 h 1149364"/>
              <a:gd name="connsiteX6" fmla="*/ 341058 w 1311665"/>
              <a:gd name="connsiteY6" fmla="*/ 1149364 h 1149364"/>
              <a:gd name="connsiteX7" fmla="*/ 285670 w 1311665"/>
              <a:gd name="connsiteY7" fmla="*/ 1092718 h 1149364"/>
              <a:gd name="connsiteX8" fmla="*/ 244941 w 1311665"/>
              <a:gd name="connsiteY8" fmla="*/ 1048489 h 1149364"/>
              <a:gd name="connsiteX9" fmla="*/ 213607 w 1311665"/>
              <a:gd name="connsiteY9" fmla="*/ 1013565 h 1149364"/>
              <a:gd name="connsiteX10" fmla="*/ 183066 w 1311665"/>
              <a:gd name="connsiteY10" fmla="*/ 973386 h 1149364"/>
              <a:gd name="connsiteX11" fmla="*/ 152237 w 1311665"/>
              <a:gd name="connsiteY11" fmla="*/ 926548 h 1149364"/>
              <a:gd name="connsiteX12" fmla="*/ 124498 w 1311665"/>
              <a:gd name="connsiteY12" fmla="*/ 876396 h 1149364"/>
              <a:gd name="connsiteX13" fmla="*/ 78143 w 1311665"/>
              <a:gd name="connsiteY13" fmla="*/ 793955 h 1149364"/>
              <a:gd name="connsiteX14" fmla="*/ 51653 w 1311665"/>
              <a:gd name="connsiteY14" fmla="*/ 725590 h 1149364"/>
              <a:gd name="connsiteX15" fmla="*/ 25230 w 1311665"/>
              <a:gd name="connsiteY15" fmla="*/ 647454 h 1149364"/>
              <a:gd name="connsiteX16" fmla="*/ 8699 w 1311665"/>
              <a:gd name="connsiteY16" fmla="*/ 557021 h 1149364"/>
              <a:gd name="connsiteX17" fmla="*/ 1805 w 1311665"/>
              <a:gd name="connsiteY17" fmla="*/ 490369 h 1149364"/>
              <a:gd name="connsiteX18" fmla="*/ 0 w 1311665"/>
              <a:gd name="connsiteY18" fmla="*/ 418952 h 1149364"/>
              <a:gd name="connsiteX19" fmla="*/ 3853 w 1311665"/>
              <a:gd name="connsiteY19" fmla="*/ 358413 h 1149364"/>
              <a:gd name="connsiteX20" fmla="*/ 12125 w 1311665"/>
              <a:gd name="connsiteY20" fmla="*/ 270485 h 1149364"/>
              <a:gd name="connsiteX21" fmla="*/ 28367 w 1311665"/>
              <a:gd name="connsiteY21" fmla="*/ 198765 h 1149364"/>
              <a:gd name="connsiteX22" fmla="*/ 51654 w 1311665"/>
              <a:gd name="connsiteY22" fmla="*/ 127394 h 1149364"/>
              <a:gd name="connsiteX23" fmla="*/ 66410 w 1311665"/>
              <a:gd name="connsiteY23" fmla="*/ 88059 h 1149364"/>
              <a:gd name="connsiteX24" fmla="*/ 88738 w 1311665"/>
              <a:gd name="connsiteY24" fmla="*/ 38921 h 1149364"/>
              <a:gd name="connsiteX25" fmla="*/ 113739 w 1311665"/>
              <a:gd name="connsiteY25" fmla="*/ 9986 h 1149364"/>
              <a:gd name="connsiteX26" fmla="*/ 1156544 w 1311665"/>
              <a:gd name="connsiteY26"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205245 w 1311665"/>
              <a:gd name="connsiteY4" fmla="*/ 278199 h 1149364"/>
              <a:gd name="connsiteX5" fmla="*/ 1256898 w 1311665"/>
              <a:gd name="connsiteY5" fmla="*/ 332489 h 1149364"/>
              <a:gd name="connsiteX6" fmla="*/ 1311665 w 1311665"/>
              <a:gd name="connsiteY6" fmla="*/ 369921 h 1149364"/>
              <a:gd name="connsiteX7" fmla="*/ 341058 w 1311665"/>
              <a:gd name="connsiteY7" fmla="*/ 1149364 h 1149364"/>
              <a:gd name="connsiteX8" fmla="*/ 285670 w 1311665"/>
              <a:gd name="connsiteY8" fmla="*/ 1092718 h 1149364"/>
              <a:gd name="connsiteX9" fmla="*/ 244941 w 1311665"/>
              <a:gd name="connsiteY9" fmla="*/ 1048489 h 1149364"/>
              <a:gd name="connsiteX10" fmla="*/ 213607 w 1311665"/>
              <a:gd name="connsiteY10" fmla="*/ 1013565 h 1149364"/>
              <a:gd name="connsiteX11" fmla="*/ 183066 w 1311665"/>
              <a:gd name="connsiteY11" fmla="*/ 973386 h 1149364"/>
              <a:gd name="connsiteX12" fmla="*/ 152237 w 1311665"/>
              <a:gd name="connsiteY12" fmla="*/ 926548 h 1149364"/>
              <a:gd name="connsiteX13" fmla="*/ 124498 w 1311665"/>
              <a:gd name="connsiteY13" fmla="*/ 876396 h 1149364"/>
              <a:gd name="connsiteX14" fmla="*/ 78143 w 1311665"/>
              <a:gd name="connsiteY14" fmla="*/ 793955 h 1149364"/>
              <a:gd name="connsiteX15" fmla="*/ 51653 w 1311665"/>
              <a:gd name="connsiteY15" fmla="*/ 725590 h 1149364"/>
              <a:gd name="connsiteX16" fmla="*/ 25230 w 1311665"/>
              <a:gd name="connsiteY16" fmla="*/ 647454 h 1149364"/>
              <a:gd name="connsiteX17" fmla="*/ 8699 w 1311665"/>
              <a:gd name="connsiteY17" fmla="*/ 557021 h 1149364"/>
              <a:gd name="connsiteX18" fmla="*/ 1805 w 1311665"/>
              <a:gd name="connsiteY18" fmla="*/ 490369 h 1149364"/>
              <a:gd name="connsiteX19" fmla="*/ 0 w 1311665"/>
              <a:gd name="connsiteY19" fmla="*/ 418952 h 1149364"/>
              <a:gd name="connsiteX20" fmla="*/ 3853 w 1311665"/>
              <a:gd name="connsiteY20" fmla="*/ 358413 h 1149364"/>
              <a:gd name="connsiteX21" fmla="*/ 12125 w 1311665"/>
              <a:gd name="connsiteY21" fmla="*/ 270485 h 1149364"/>
              <a:gd name="connsiteX22" fmla="*/ 28367 w 1311665"/>
              <a:gd name="connsiteY22" fmla="*/ 198765 h 1149364"/>
              <a:gd name="connsiteX23" fmla="*/ 51654 w 1311665"/>
              <a:gd name="connsiteY23" fmla="*/ 127394 h 1149364"/>
              <a:gd name="connsiteX24" fmla="*/ 66410 w 1311665"/>
              <a:gd name="connsiteY24" fmla="*/ 88059 h 1149364"/>
              <a:gd name="connsiteX25" fmla="*/ 88738 w 1311665"/>
              <a:gd name="connsiteY25" fmla="*/ 38921 h 1149364"/>
              <a:gd name="connsiteX26" fmla="*/ 113739 w 1311665"/>
              <a:gd name="connsiteY26" fmla="*/ 9986 h 1149364"/>
              <a:gd name="connsiteX27" fmla="*/ 1156544 w 1311665"/>
              <a:gd name="connsiteY27"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202596 w 1311665"/>
              <a:gd name="connsiteY4" fmla="*/ 288253 h 1149364"/>
              <a:gd name="connsiteX5" fmla="*/ 1256898 w 1311665"/>
              <a:gd name="connsiteY5" fmla="*/ 332489 h 1149364"/>
              <a:gd name="connsiteX6" fmla="*/ 1311665 w 1311665"/>
              <a:gd name="connsiteY6" fmla="*/ 369921 h 1149364"/>
              <a:gd name="connsiteX7" fmla="*/ 341058 w 1311665"/>
              <a:gd name="connsiteY7" fmla="*/ 1149364 h 1149364"/>
              <a:gd name="connsiteX8" fmla="*/ 285670 w 1311665"/>
              <a:gd name="connsiteY8" fmla="*/ 1092718 h 1149364"/>
              <a:gd name="connsiteX9" fmla="*/ 244941 w 1311665"/>
              <a:gd name="connsiteY9" fmla="*/ 1048489 h 1149364"/>
              <a:gd name="connsiteX10" fmla="*/ 213607 w 1311665"/>
              <a:gd name="connsiteY10" fmla="*/ 1013565 h 1149364"/>
              <a:gd name="connsiteX11" fmla="*/ 183066 w 1311665"/>
              <a:gd name="connsiteY11" fmla="*/ 973386 h 1149364"/>
              <a:gd name="connsiteX12" fmla="*/ 152237 w 1311665"/>
              <a:gd name="connsiteY12" fmla="*/ 926548 h 1149364"/>
              <a:gd name="connsiteX13" fmla="*/ 124498 w 1311665"/>
              <a:gd name="connsiteY13" fmla="*/ 876396 h 1149364"/>
              <a:gd name="connsiteX14" fmla="*/ 78143 w 1311665"/>
              <a:gd name="connsiteY14" fmla="*/ 793955 h 1149364"/>
              <a:gd name="connsiteX15" fmla="*/ 51653 w 1311665"/>
              <a:gd name="connsiteY15" fmla="*/ 725590 h 1149364"/>
              <a:gd name="connsiteX16" fmla="*/ 25230 w 1311665"/>
              <a:gd name="connsiteY16" fmla="*/ 647454 h 1149364"/>
              <a:gd name="connsiteX17" fmla="*/ 8699 w 1311665"/>
              <a:gd name="connsiteY17" fmla="*/ 557021 h 1149364"/>
              <a:gd name="connsiteX18" fmla="*/ 1805 w 1311665"/>
              <a:gd name="connsiteY18" fmla="*/ 490369 h 1149364"/>
              <a:gd name="connsiteX19" fmla="*/ 0 w 1311665"/>
              <a:gd name="connsiteY19" fmla="*/ 418952 h 1149364"/>
              <a:gd name="connsiteX20" fmla="*/ 3853 w 1311665"/>
              <a:gd name="connsiteY20" fmla="*/ 358413 h 1149364"/>
              <a:gd name="connsiteX21" fmla="*/ 12125 w 1311665"/>
              <a:gd name="connsiteY21" fmla="*/ 270485 h 1149364"/>
              <a:gd name="connsiteX22" fmla="*/ 28367 w 1311665"/>
              <a:gd name="connsiteY22" fmla="*/ 198765 h 1149364"/>
              <a:gd name="connsiteX23" fmla="*/ 51654 w 1311665"/>
              <a:gd name="connsiteY23" fmla="*/ 127394 h 1149364"/>
              <a:gd name="connsiteX24" fmla="*/ 66410 w 1311665"/>
              <a:gd name="connsiteY24" fmla="*/ 88059 h 1149364"/>
              <a:gd name="connsiteX25" fmla="*/ 88738 w 1311665"/>
              <a:gd name="connsiteY25" fmla="*/ 38921 h 1149364"/>
              <a:gd name="connsiteX26" fmla="*/ 113739 w 1311665"/>
              <a:gd name="connsiteY26" fmla="*/ 9986 h 1149364"/>
              <a:gd name="connsiteX27" fmla="*/ 1156544 w 1311665"/>
              <a:gd name="connsiteY27"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170810 w 1311665"/>
              <a:gd name="connsiteY4" fmla="*/ 245022 h 1149364"/>
              <a:gd name="connsiteX5" fmla="*/ 1202596 w 1311665"/>
              <a:gd name="connsiteY5" fmla="*/ 288253 h 1149364"/>
              <a:gd name="connsiteX6" fmla="*/ 1256898 w 1311665"/>
              <a:gd name="connsiteY6" fmla="*/ 332489 h 1149364"/>
              <a:gd name="connsiteX7" fmla="*/ 1311665 w 1311665"/>
              <a:gd name="connsiteY7" fmla="*/ 369921 h 1149364"/>
              <a:gd name="connsiteX8" fmla="*/ 341058 w 1311665"/>
              <a:gd name="connsiteY8" fmla="*/ 1149364 h 1149364"/>
              <a:gd name="connsiteX9" fmla="*/ 285670 w 1311665"/>
              <a:gd name="connsiteY9" fmla="*/ 1092718 h 1149364"/>
              <a:gd name="connsiteX10" fmla="*/ 244941 w 1311665"/>
              <a:gd name="connsiteY10" fmla="*/ 1048489 h 1149364"/>
              <a:gd name="connsiteX11" fmla="*/ 213607 w 1311665"/>
              <a:gd name="connsiteY11" fmla="*/ 1013565 h 1149364"/>
              <a:gd name="connsiteX12" fmla="*/ 183066 w 1311665"/>
              <a:gd name="connsiteY12" fmla="*/ 973386 h 1149364"/>
              <a:gd name="connsiteX13" fmla="*/ 152237 w 1311665"/>
              <a:gd name="connsiteY13" fmla="*/ 926548 h 1149364"/>
              <a:gd name="connsiteX14" fmla="*/ 124498 w 1311665"/>
              <a:gd name="connsiteY14" fmla="*/ 876396 h 1149364"/>
              <a:gd name="connsiteX15" fmla="*/ 78143 w 1311665"/>
              <a:gd name="connsiteY15" fmla="*/ 793955 h 1149364"/>
              <a:gd name="connsiteX16" fmla="*/ 51653 w 1311665"/>
              <a:gd name="connsiteY16" fmla="*/ 725590 h 1149364"/>
              <a:gd name="connsiteX17" fmla="*/ 25230 w 1311665"/>
              <a:gd name="connsiteY17" fmla="*/ 647454 h 1149364"/>
              <a:gd name="connsiteX18" fmla="*/ 8699 w 1311665"/>
              <a:gd name="connsiteY18" fmla="*/ 557021 h 1149364"/>
              <a:gd name="connsiteX19" fmla="*/ 1805 w 1311665"/>
              <a:gd name="connsiteY19" fmla="*/ 490369 h 1149364"/>
              <a:gd name="connsiteX20" fmla="*/ 0 w 1311665"/>
              <a:gd name="connsiteY20" fmla="*/ 418952 h 1149364"/>
              <a:gd name="connsiteX21" fmla="*/ 3853 w 1311665"/>
              <a:gd name="connsiteY21" fmla="*/ 358413 h 1149364"/>
              <a:gd name="connsiteX22" fmla="*/ 12125 w 1311665"/>
              <a:gd name="connsiteY22" fmla="*/ 270485 h 1149364"/>
              <a:gd name="connsiteX23" fmla="*/ 28367 w 1311665"/>
              <a:gd name="connsiteY23" fmla="*/ 198765 h 1149364"/>
              <a:gd name="connsiteX24" fmla="*/ 51654 w 1311665"/>
              <a:gd name="connsiteY24" fmla="*/ 127394 h 1149364"/>
              <a:gd name="connsiteX25" fmla="*/ 66410 w 1311665"/>
              <a:gd name="connsiteY25" fmla="*/ 88059 h 1149364"/>
              <a:gd name="connsiteX26" fmla="*/ 88738 w 1311665"/>
              <a:gd name="connsiteY26" fmla="*/ 38921 h 1149364"/>
              <a:gd name="connsiteX27" fmla="*/ 113739 w 1311665"/>
              <a:gd name="connsiteY27" fmla="*/ 9986 h 1149364"/>
              <a:gd name="connsiteX28" fmla="*/ 1156544 w 1311665"/>
              <a:gd name="connsiteY28"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6563 w 1311665"/>
              <a:gd name="connsiteY3" fmla="*/ 196024 h 1149364"/>
              <a:gd name="connsiteX4" fmla="*/ 1170810 w 1311665"/>
              <a:gd name="connsiteY4" fmla="*/ 251055 h 1149364"/>
              <a:gd name="connsiteX5" fmla="*/ 1202596 w 1311665"/>
              <a:gd name="connsiteY5" fmla="*/ 288253 h 1149364"/>
              <a:gd name="connsiteX6" fmla="*/ 1256898 w 1311665"/>
              <a:gd name="connsiteY6" fmla="*/ 332489 h 1149364"/>
              <a:gd name="connsiteX7" fmla="*/ 1311665 w 1311665"/>
              <a:gd name="connsiteY7" fmla="*/ 369921 h 1149364"/>
              <a:gd name="connsiteX8" fmla="*/ 341058 w 1311665"/>
              <a:gd name="connsiteY8" fmla="*/ 1149364 h 1149364"/>
              <a:gd name="connsiteX9" fmla="*/ 285670 w 1311665"/>
              <a:gd name="connsiteY9" fmla="*/ 1092718 h 1149364"/>
              <a:gd name="connsiteX10" fmla="*/ 244941 w 1311665"/>
              <a:gd name="connsiteY10" fmla="*/ 1048489 h 1149364"/>
              <a:gd name="connsiteX11" fmla="*/ 213607 w 1311665"/>
              <a:gd name="connsiteY11" fmla="*/ 1013565 h 1149364"/>
              <a:gd name="connsiteX12" fmla="*/ 183066 w 1311665"/>
              <a:gd name="connsiteY12" fmla="*/ 973386 h 1149364"/>
              <a:gd name="connsiteX13" fmla="*/ 152237 w 1311665"/>
              <a:gd name="connsiteY13" fmla="*/ 926548 h 1149364"/>
              <a:gd name="connsiteX14" fmla="*/ 124498 w 1311665"/>
              <a:gd name="connsiteY14" fmla="*/ 876396 h 1149364"/>
              <a:gd name="connsiteX15" fmla="*/ 78143 w 1311665"/>
              <a:gd name="connsiteY15" fmla="*/ 793955 h 1149364"/>
              <a:gd name="connsiteX16" fmla="*/ 51653 w 1311665"/>
              <a:gd name="connsiteY16" fmla="*/ 725590 h 1149364"/>
              <a:gd name="connsiteX17" fmla="*/ 25230 w 1311665"/>
              <a:gd name="connsiteY17" fmla="*/ 647454 h 1149364"/>
              <a:gd name="connsiteX18" fmla="*/ 8699 w 1311665"/>
              <a:gd name="connsiteY18" fmla="*/ 557021 h 1149364"/>
              <a:gd name="connsiteX19" fmla="*/ 1805 w 1311665"/>
              <a:gd name="connsiteY19" fmla="*/ 490369 h 1149364"/>
              <a:gd name="connsiteX20" fmla="*/ 0 w 1311665"/>
              <a:gd name="connsiteY20" fmla="*/ 418952 h 1149364"/>
              <a:gd name="connsiteX21" fmla="*/ 3853 w 1311665"/>
              <a:gd name="connsiteY21" fmla="*/ 358413 h 1149364"/>
              <a:gd name="connsiteX22" fmla="*/ 12125 w 1311665"/>
              <a:gd name="connsiteY22" fmla="*/ 270485 h 1149364"/>
              <a:gd name="connsiteX23" fmla="*/ 28367 w 1311665"/>
              <a:gd name="connsiteY23" fmla="*/ 198765 h 1149364"/>
              <a:gd name="connsiteX24" fmla="*/ 51654 w 1311665"/>
              <a:gd name="connsiteY24" fmla="*/ 127394 h 1149364"/>
              <a:gd name="connsiteX25" fmla="*/ 66410 w 1311665"/>
              <a:gd name="connsiteY25" fmla="*/ 88059 h 1149364"/>
              <a:gd name="connsiteX26" fmla="*/ 88738 w 1311665"/>
              <a:gd name="connsiteY26" fmla="*/ 38921 h 1149364"/>
              <a:gd name="connsiteX27" fmla="*/ 113739 w 1311665"/>
              <a:gd name="connsiteY27" fmla="*/ 9986 h 1149364"/>
              <a:gd name="connsiteX28" fmla="*/ 1156544 w 1311665"/>
              <a:gd name="connsiteY28"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44510 w 1311665"/>
              <a:gd name="connsiteY3" fmla="*/ 203062 h 1149364"/>
              <a:gd name="connsiteX4" fmla="*/ 1170810 w 1311665"/>
              <a:gd name="connsiteY4" fmla="*/ 251055 h 1149364"/>
              <a:gd name="connsiteX5" fmla="*/ 1202596 w 1311665"/>
              <a:gd name="connsiteY5" fmla="*/ 288253 h 1149364"/>
              <a:gd name="connsiteX6" fmla="*/ 1256898 w 1311665"/>
              <a:gd name="connsiteY6" fmla="*/ 332489 h 1149364"/>
              <a:gd name="connsiteX7" fmla="*/ 1311665 w 1311665"/>
              <a:gd name="connsiteY7" fmla="*/ 369921 h 1149364"/>
              <a:gd name="connsiteX8" fmla="*/ 341058 w 1311665"/>
              <a:gd name="connsiteY8" fmla="*/ 1149364 h 1149364"/>
              <a:gd name="connsiteX9" fmla="*/ 285670 w 1311665"/>
              <a:gd name="connsiteY9" fmla="*/ 1092718 h 1149364"/>
              <a:gd name="connsiteX10" fmla="*/ 244941 w 1311665"/>
              <a:gd name="connsiteY10" fmla="*/ 1048489 h 1149364"/>
              <a:gd name="connsiteX11" fmla="*/ 213607 w 1311665"/>
              <a:gd name="connsiteY11" fmla="*/ 1013565 h 1149364"/>
              <a:gd name="connsiteX12" fmla="*/ 183066 w 1311665"/>
              <a:gd name="connsiteY12" fmla="*/ 973386 h 1149364"/>
              <a:gd name="connsiteX13" fmla="*/ 152237 w 1311665"/>
              <a:gd name="connsiteY13" fmla="*/ 926548 h 1149364"/>
              <a:gd name="connsiteX14" fmla="*/ 124498 w 1311665"/>
              <a:gd name="connsiteY14" fmla="*/ 876396 h 1149364"/>
              <a:gd name="connsiteX15" fmla="*/ 78143 w 1311665"/>
              <a:gd name="connsiteY15" fmla="*/ 793955 h 1149364"/>
              <a:gd name="connsiteX16" fmla="*/ 51653 w 1311665"/>
              <a:gd name="connsiteY16" fmla="*/ 725590 h 1149364"/>
              <a:gd name="connsiteX17" fmla="*/ 25230 w 1311665"/>
              <a:gd name="connsiteY17" fmla="*/ 647454 h 1149364"/>
              <a:gd name="connsiteX18" fmla="*/ 8699 w 1311665"/>
              <a:gd name="connsiteY18" fmla="*/ 557021 h 1149364"/>
              <a:gd name="connsiteX19" fmla="*/ 1805 w 1311665"/>
              <a:gd name="connsiteY19" fmla="*/ 490369 h 1149364"/>
              <a:gd name="connsiteX20" fmla="*/ 0 w 1311665"/>
              <a:gd name="connsiteY20" fmla="*/ 418952 h 1149364"/>
              <a:gd name="connsiteX21" fmla="*/ 3853 w 1311665"/>
              <a:gd name="connsiteY21" fmla="*/ 358413 h 1149364"/>
              <a:gd name="connsiteX22" fmla="*/ 12125 w 1311665"/>
              <a:gd name="connsiteY22" fmla="*/ 270485 h 1149364"/>
              <a:gd name="connsiteX23" fmla="*/ 28367 w 1311665"/>
              <a:gd name="connsiteY23" fmla="*/ 198765 h 1149364"/>
              <a:gd name="connsiteX24" fmla="*/ 51654 w 1311665"/>
              <a:gd name="connsiteY24" fmla="*/ 127394 h 1149364"/>
              <a:gd name="connsiteX25" fmla="*/ 66410 w 1311665"/>
              <a:gd name="connsiteY25" fmla="*/ 88059 h 1149364"/>
              <a:gd name="connsiteX26" fmla="*/ 88738 w 1311665"/>
              <a:gd name="connsiteY26" fmla="*/ 38921 h 1149364"/>
              <a:gd name="connsiteX27" fmla="*/ 113739 w 1311665"/>
              <a:gd name="connsiteY27" fmla="*/ 9986 h 1149364"/>
              <a:gd name="connsiteX28" fmla="*/ 1156544 w 1311665"/>
              <a:gd name="connsiteY28" fmla="*/ 0 h 1149364"/>
              <a:gd name="connsiteX0" fmla="*/ 1156544 w 1311665"/>
              <a:gd name="connsiteY0" fmla="*/ 0 h 1149364"/>
              <a:gd name="connsiteX1" fmla="*/ 1133989 w 1311665"/>
              <a:gd name="connsiteY1" fmla="*/ 82082 h 1149364"/>
              <a:gd name="connsiteX2" fmla="*/ 1124444 w 1311665"/>
              <a:gd name="connsiteY2" fmla="*/ 139267 h 1149364"/>
              <a:gd name="connsiteX3" fmla="*/ 1133725 w 1311665"/>
              <a:gd name="connsiteY3" fmla="*/ 163587 h 1149364"/>
              <a:gd name="connsiteX4" fmla="*/ 1144510 w 1311665"/>
              <a:gd name="connsiteY4" fmla="*/ 203062 h 1149364"/>
              <a:gd name="connsiteX5" fmla="*/ 1170810 w 1311665"/>
              <a:gd name="connsiteY5" fmla="*/ 251055 h 1149364"/>
              <a:gd name="connsiteX6" fmla="*/ 1202596 w 1311665"/>
              <a:gd name="connsiteY6" fmla="*/ 288253 h 1149364"/>
              <a:gd name="connsiteX7" fmla="*/ 1256898 w 1311665"/>
              <a:gd name="connsiteY7" fmla="*/ 332489 h 1149364"/>
              <a:gd name="connsiteX8" fmla="*/ 1311665 w 1311665"/>
              <a:gd name="connsiteY8" fmla="*/ 369921 h 1149364"/>
              <a:gd name="connsiteX9" fmla="*/ 341058 w 1311665"/>
              <a:gd name="connsiteY9" fmla="*/ 1149364 h 1149364"/>
              <a:gd name="connsiteX10" fmla="*/ 285670 w 1311665"/>
              <a:gd name="connsiteY10" fmla="*/ 1092718 h 1149364"/>
              <a:gd name="connsiteX11" fmla="*/ 244941 w 1311665"/>
              <a:gd name="connsiteY11" fmla="*/ 1048489 h 1149364"/>
              <a:gd name="connsiteX12" fmla="*/ 213607 w 1311665"/>
              <a:gd name="connsiteY12" fmla="*/ 1013565 h 1149364"/>
              <a:gd name="connsiteX13" fmla="*/ 183066 w 1311665"/>
              <a:gd name="connsiteY13" fmla="*/ 973386 h 1149364"/>
              <a:gd name="connsiteX14" fmla="*/ 152237 w 1311665"/>
              <a:gd name="connsiteY14" fmla="*/ 926548 h 1149364"/>
              <a:gd name="connsiteX15" fmla="*/ 124498 w 1311665"/>
              <a:gd name="connsiteY15" fmla="*/ 876396 h 1149364"/>
              <a:gd name="connsiteX16" fmla="*/ 78143 w 1311665"/>
              <a:gd name="connsiteY16" fmla="*/ 793955 h 1149364"/>
              <a:gd name="connsiteX17" fmla="*/ 51653 w 1311665"/>
              <a:gd name="connsiteY17" fmla="*/ 725590 h 1149364"/>
              <a:gd name="connsiteX18" fmla="*/ 25230 w 1311665"/>
              <a:gd name="connsiteY18" fmla="*/ 647454 h 1149364"/>
              <a:gd name="connsiteX19" fmla="*/ 8699 w 1311665"/>
              <a:gd name="connsiteY19" fmla="*/ 557021 h 1149364"/>
              <a:gd name="connsiteX20" fmla="*/ 1805 w 1311665"/>
              <a:gd name="connsiteY20" fmla="*/ 490369 h 1149364"/>
              <a:gd name="connsiteX21" fmla="*/ 0 w 1311665"/>
              <a:gd name="connsiteY21" fmla="*/ 418952 h 1149364"/>
              <a:gd name="connsiteX22" fmla="*/ 3853 w 1311665"/>
              <a:gd name="connsiteY22" fmla="*/ 358413 h 1149364"/>
              <a:gd name="connsiteX23" fmla="*/ 12125 w 1311665"/>
              <a:gd name="connsiteY23" fmla="*/ 270485 h 1149364"/>
              <a:gd name="connsiteX24" fmla="*/ 28367 w 1311665"/>
              <a:gd name="connsiteY24" fmla="*/ 198765 h 1149364"/>
              <a:gd name="connsiteX25" fmla="*/ 51654 w 1311665"/>
              <a:gd name="connsiteY25" fmla="*/ 127394 h 1149364"/>
              <a:gd name="connsiteX26" fmla="*/ 66410 w 1311665"/>
              <a:gd name="connsiteY26" fmla="*/ 88059 h 1149364"/>
              <a:gd name="connsiteX27" fmla="*/ 88738 w 1311665"/>
              <a:gd name="connsiteY27" fmla="*/ 38921 h 1149364"/>
              <a:gd name="connsiteX28" fmla="*/ 113739 w 1311665"/>
              <a:gd name="connsiteY28" fmla="*/ 9986 h 1149364"/>
              <a:gd name="connsiteX29" fmla="*/ 1156544 w 1311665"/>
              <a:gd name="connsiteY29" fmla="*/ 0 h 1149364"/>
              <a:gd name="connsiteX0" fmla="*/ 1156544 w 1311665"/>
              <a:gd name="connsiteY0" fmla="*/ 0 h 1149364"/>
              <a:gd name="connsiteX1" fmla="*/ 1133989 w 1311665"/>
              <a:gd name="connsiteY1" fmla="*/ 82082 h 1149364"/>
              <a:gd name="connsiteX2" fmla="*/ 1129742 w 1311665"/>
              <a:gd name="connsiteY2" fmla="*/ 130219 h 1149364"/>
              <a:gd name="connsiteX3" fmla="*/ 1133725 w 1311665"/>
              <a:gd name="connsiteY3" fmla="*/ 163587 h 1149364"/>
              <a:gd name="connsiteX4" fmla="*/ 1144510 w 1311665"/>
              <a:gd name="connsiteY4" fmla="*/ 203062 h 1149364"/>
              <a:gd name="connsiteX5" fmla="*/ 1170810 w 1311665"/>
              <a:gd name="connsiteY5" fmla="*/ 251055 h 1149364"/>
              <a:gd name="connsiteX6" fmla="*/ 1202596 w 1311665"/>
              <a:gd name="connsiteY6" fmla="*/ 288253 h 1149364"/>
              <a:gd name="connsiteX7" fmla="*/ 1256898 w 1311665"/>
              <a:gd name="connsiteY7" fmla="*/ 332489 h 1149364"/>
              <a:gd name="connsiteX8" fmla="*/ 1311665 w 1311665"/>
              <a:gd name="connsiteY8" fmla="*/ 369921 h 1149364"/>
              <a:gd name="connsiteX9" fmla="*/ 341058 w 1311665"/>
              <a:gd name="connsiteY9" fmla="*/ 1149364 h 1149364"/>
              <a:gd name="connsiteX10" fmla="*/ 285670 w 1311665"/>
              <a:gd name="connsiteY10" fmla="*/ 1092718 h 1149364"/>
              <a:gd name="connsiteX11" fmla="*/ 244941 w 1311665"/>
              <a:gd name="connsiteY11" fmla="*/ 1048489 h 1149364"/>
              <a:gd name="connsiteX12" fmla="*/ 213607 w 1311665"/>
              <a:gd name="connsiteY12" fmla="*/ 1013565 h 1149364"/>
              <a:gd name="connsiteX13" fmla="*/ 183066 w 1311665"/>
              <a:gd name="connsiteY13" fmla="*/ 973386 h 1149364"/>
              <a:gd name="connsiteX14" fmla="*/ 152237 w 1311665"/>
              <a:gd name="connsiteY14" fmla="*/ 926548 h 1149364"/>
              <a:gd name="connsiteX15" fmla="*/ 124498 w 1311665"/>
              <a:gd name="connsiteY15" fmla="*/ 876396 h 1149364"/>
              <a:gd name="connsiteX16" fmla="*/ 78143 w 1311665"/>
              <a:gd name="connsiteY16" fmla="*/ 793955 h 1149364"/>
              <a:gd name="connsiteX17" fmla="*/ 51653 w 1311665"/>
              <a:gd name="connsiteY17" fmla="*/ 725590 h 1149364"/>
              <a:gd name="connsiteX18" fmla="*/ 25230 w 1311665"/>
              <a:gd name="connsiteY18" fmla="*/ 647454 h 1149364"/>
              <a:gd name="connsiteX19" fmla="*/ 8699 w 1311665"/>
              <a:gd name="connsiteY19" fmla="*/ 557021 h 1149364"/>
              <a:gd name="connsiteX20" fmla="*/ 1805 w 1311665"/>
              <a:gd name="connsiteY20" fmla="*/ 490369 h 1149364"/>
              <a:gd name="connsiteX21" fmla="*/ 0 w 1311665"/>
              <a:gd name="connsiteY21" fmla="*/ 418952 h 1149364"/>
              <a:gd name="connsiteX22" fmla="*/ 3853 w 1311665"/>
              <a:gd name="connsiteY22" fmla="*/ 358413 h 1149364"/>
              <a:gd name="connsiteX23" fmla="*/ 12125 w 1311665"/>
              <a:gd name="connsiteY23" fmla="*/ 270485 h 1149364"/>
              <a:gd name="connsiteX24" fmla="*/ 28367 w 1311665"/>
              <a:gd name="connsiteY24" fmla="*/ 198765 h 1149364"/>
              <a:gd name="connsiteX25" fmla="*/ 51654 w 1311665"/>
              <a:gd name="connsiteY25" fmla="*/ 127394 h 1149364"/>
              <a:gd name="connsiteX26" fmla="*/ 66410 w 1311665"/>
              <a:gd name="connsiteY26" fmla="*/ 88059 h 1149364"/>
              <a:gd name="connsiteX27" fmla="*/ 88738 w 1311665"/>
              <a:gd name="connsiteY27" fmla="*/ 38921 h 1149364"/>
              <a:gd name="connsiteX28" fmla="*/ 113739 w 1311665"/>
              <a:gd name="connsiteY28" fmla="*/ 9986 h 1149364"/>
              <a:gd name="connsiteX29" fmla="*/ 1156544 w 1311665"/>
              <a:gd name="connsiteY29" fmla="*/ 0 h 1149364"/>
              <a:gd name="connsiteX0" fmla="*/ 1156544 w 1311665"/>
              <a:gd name="connsiteY0" fmla="*/ 0 h 1149364"/>
              <a:gd name="connsiteX1" fmla="*/ 1128691 w 1311665"/>
              <a:gd name="connsiteY1" fmla="*/ 82082 h 1149364"/>
              <a:gd name="connsiteX2" fmla="*/ 1129742 w 1311665"/>
              <a:gd name="connsiteY2" fmla="*/ 130219 h 1149364"/>
              <a:gd name="connsiteX3" fmla="*/ 1133725 w 1311665"/>
              <a:gd name="connsiteY3" fmla="*/ 163587 h 1149364"/>
              <a:gd name="connsiteX4" fmla="*/ 1144510 w 1311665"/>
              <a:gd name="connsiteY4" fmla="*/ 203062 h 1149364"/>
              <a:gd name="connsiteX5" fmla="*/ 1170810 w 1311665"/>
              <a:gd name="connsiteY5" fmla="*/ 251055 h 1149364"/>
              <a:gd name="connsiteX6" fmla="*/ 1202596 w 1311665"/>
              <a:gd name="connsiteY6" fmla="*/ 288253 h 1149364"/>
              <a:gd name="connsiteX7" fmla="*/ 1256898 w 1311665"/>
              <a:gd name="connsiteY7" fmla="*/ 332489 h 1149364"/>
              <a:gd name="connsiteX8" fmla="*/ 1311665 w 1311665"/>
              <a:gd name="connsiteY8" fmla="*/ 369921 h 1149364"/>
              <a:gd name="connsiteX9" fmla="*/ 341058 w 1311665"/>
              <a:gd name="connsiteY9" fmla="*/ 1149364 h 1149364"/>
              <a:gd name="connsiteX10" fmla="*/ 285670 w 1311665"/>
              <a:gd name="connsiteY10" fmla="*/ 1092718 h 1149364"/>
              <a:gd name="connsiteX11" fmla="*/ 244941 w 1311665"/>
              <a:gd name="connsiteY11" fmla="*/ 1048489 h 1149364"/>
              <a:gd name="connsiteX12" fmla="*/ 213607 w 1311665"/>
              <a:gd name="connsiteY12" fmla="*/ 1013565 h 1149364"/>
              <a:gd name="connsiteX13" fmla="*/ 183066 w 1311665"/>
              <a:gd name="connsiteY13" fmla="*/ 973386 h 1149364"/>
              <a:gd name="connsiteX14" fmla="*/ 152237 w 1311665"/>
              <a:gd name="connsiteY14" fmla="*/ 926548 h 1149364"/>
              <a:gd name="connsiteX15" fmla="*/ 124498 w 1311665"/>
              <a:gd name="connsiteY15" fmla="*/ 876396 h 1149364"/>
              <a:gd name="connsiteX16" fmla="*/ 78143 w 1311665"/>
              <a:gd name="connsiteY16" fmla="*/ 793955 h 1149364"/>
              <a:gd name="connsiteX17" fmla="*/ 51653 w 1311665"/>
              <a:gd name="connsiteY17" fmla="*/ 725590 h 1149364"/>
              <a:gd name="connsiteX18" fmla="*/ 25230 w 1311665"/>
              <a:gd name="connsiteY18" fmla="*/ 647454 h 1149364"/>
              <a:gd name="connsiteX19" fmla="*/ 8699 w 1311665"/>
              <a:gd name="connsiteY19" fmla="*/ 557021 h 1149364"/>
              <a:gd name="connsiteX20" fmla="*/ 1805 w 1311665"/>
              <a:gd name="connsiteY20" fmla="*/ 490369 h 1149364"/>
              <a:gd name="connsiteX21" fmla="*/ 0 w 1311665"/>
              <a:gd name="connsiteY21" fmla="*/ 418952 h 1149364"/>
              <a:gd name="connsiteX22" fmla="*/ 3853 w 1311665"/>
              <a:gd name="connsiteY22" fmla="*/ 358413 h 1149364"/>
              <a:gd name="connsiteX23" fmla="*/ 12125 w 1311665"/>
              <a:gd name="connsiteY23" fmla="*/ 270485 h 1149364"/>
              <a:gd name="connsiteX24" fmla="*/ 28367 w 1311665"/>
              <a:gd name="connsiteY24" fmla="*/ 198765 h 1149364"/>
              <a:gd name="connsiteX25" fmla="*/ 51654 w 1311665"/>
              <a:gd name="connsiteY25" fmla="*/ 127394 h 1149364"/>
              <a:gd name="connsiteX26" fmla="*/ 66410 w 1311665"/>
              <a:gd name="connsiteY26" fmla="*/ 88059 h 1149364"/>
              <a:gd name="connsiteX27" fmla="*/ 88738 w 1311665"/>
              <a:gd name="connsiteY27" fmla="*/ 38921 h 1149364"/>
              <a:gd name="connsiteX28" fmla="*/ 113739 w 1311665"/>
              <a:gd name="connsiteY28" fmla="*/ 9986 h 1149364"/>
              <a:gd name="connsiteX29" fmla="*/ 1156544 w 1311665"/>
              <a:gd name="connsiteY29" fmla="*/ 0 h 1149364"/>
              <a:gd name="connsiteX0" fmla="*/ 1156544 w 1311665"/>
              <a:gd name="connsiteY0" fmla="*/ 0 h 1149364"/>
              <a:gd name="connsiteX1" fmla="*/ 1145645 w 1311665"/>
              <a:gd name="connsiteY1" fmla="*/ 36910 h 1149364"/>
              <a:gd name="connsiteX2" fmla="*/ 1128691 w 1311665"/>
              <a:gd name="connsiteY2" fmla="*/ 82082 h 1149364"/>
              <a:gd name="connsiteX3" fmla="*/ 1129742 w 1311665"/>
              <a:gd name="connsiteY3" fmla="*/ 130219 h 1149364"/>
              <a:gd name="connsiteX4" fmla="*/ 1133725 w 1311665"/>
              <a:gd name="connsiteY4" fmla="*/ 163587 h 1149364"/>
              <a:gd name="connsiteX5" fmla="*/ 1144510 w 1311665"/>
              <a:gd name="connsiteY5" fmla="*/ 203062 h 1149364"/>
              <a:gd name="connsiteX6" fmla="*/ 1170810 w 1311665"/>
              <a:gd name="connsiteY6" fmla="*/ 251055 h 1149364"/>
              <a:gd name="connsiteX7" fmla="*/ 1202596 w 1311665"/>
              <a:gd name="connsiteY7" fmla="*/ 288253 h 1149364"/>
              <a:gd name="connsiteX8" fmla="*/ 1256898 w 1311665"/>
              <a:gd name="connsiteY8" fmla="*/ 332489 h 1149364"/>
              <a:gd name="connsiteX9" fmla="*/ 1311665 w 1311665"/>
              <a:gd name="connsiteY9" fmla="*/ 369921 h 1149364"/>
              <a:gd name="connsiteX10" fmla="*/ 341058 w 1311665"/>
              <a:gd name="connsiteY10" fmla="*/ 1149364 h 1149364"/>
              <a:gd name="connsiteX11" fmla="*/ 285670 w 1311665"/>
              <a:gd name="connsiteY11" fmla="*/ 1092718 h 1149364"/>
              <a:gd name="connsiteX12" fmla="*/ 244941 w 1311665"/>
              <a:gd name="connsiteY12" fmla="*/ 1048489 h 1149364"/>
              <a:gd name="connsiteX13" fmla="*/ 213607 w 1311665"/>
              <a:gd name="connsiteY13" fmla="*/ 1013565 h 1149364"/>
              <a:gd name="connsiteX14" fmla="*/ 183066 w 1311665"/>
              <a:gd name="connsiteY14" fmla="*/ 973386 h 1149364"/>
              <a:gd name="connsiteX15" fmla="*/ 152237 w 1311665"/>
              <a:gd name="connsiteY15" fmla="*/ 926548 h 1149364"/>
              <a:gd name="connsiteX16" fmla="*/ 124498 w 1311665"/>
              <a:gd name="connsiteY16" fmla="*/ 876396 h 1149364"/>
              <a:gd name="connsiteX17" fmla="*/ 78143 w 1311665"/>
              <a:gd name="connsiteY17" fmla="*/ 793955 h 1149364"/>
              <a:gd name="connsiteX18" fmla="*/ 51653 w 1311665"/>
              <a:gd name="connsiteY18" fmla="*/ 725590 h 1149364"/>
              <a:gd name="connsiteX19" fmla="*/ 25230 w 1311665"/>
              <a:gd name="connsiteY19" fmla="*/ 647454 h 1149364"/>
              <a:gd name="connsiteX20" fmla="*/ 8699 w 1311665"/>
              <a:gd name="connsiteY20" fmla="*/ 557021 h 1149364"/>
              <a:gd name="connsiteX21" fmla="*/ 1805 w 1311665"/>
              <a:gd name="connsiteY21" fmla="*/ 490369 h 1149364"/>
              <a:gd name="connsiteX22" fmla="*/ 0 w 1311665"/>
              <a:gd name="connsiteY22" fmla="*/ 418952 h 1149364"/>
              <a:gd name="connsiteX23" fmla="*/ 3853 w 1311665"/>
              <a:gd name="connsiteY23" fmla="*/ 358413 h 1149364"/>
              <a:gd name="connsiteX24" fmla="*/ 12125 w 1311665"/>
              <a:gd name="connsiteY24" fmla="*/ 270485 h 1149364"/>
              <a:gd name="connsiteX25" fmla="*/ 28367 w 1311665"/>
              <a:gd name="connsiteY25" fmla="*/ 198765 h 1149364"/>
              <a:gd name="connsiteX26" fmla="*/ 51654 w 1311665"/>
              <a:gd name="connsiteY26" fmla="*/ 127394 h 1149364"/>
              <a:gd name="connsiteX27" fmla="*/ 66410 w 1311665"/>
              <a:gd name="connsiteY27" fmla="*/ 88059 h 1149364"/>
              <a:gd name="connsiteX28" fmla="*/ 88738 w 1311665"/>
              <a:gd name="connsiteY28" fmla="*/ 38921 h 1149364"/>
              <a:gd name="connsiteX29" fmla="*/ 113739 w 1311665"/>
              <a:gd name="connsiteY29" fmla="*/ 9986 h 1149364"/>
              <a:gd name="connsiteX30" fmla="*/ 1156544 w 1311665"/>
              <a:gd name="connsiteY30" fmla="*/ 0 h 114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11665" h="1149364">
                <a:moveTo>
                  <a:pt x="1156544" y="0"/>
                </a:moveTo>
                <a:lnTo>
                  <a:pt x="1145645" y="36910"/>
                </a:lnTo>
                <a:lnTo>
                  <a:pt x="1128691" y="82082"/>
                </a:lnTo>
                <a:cubicBezTo>
                  <a:pt x="1129041" y="98128"/>
                  <a:pt x="1129392" y="114173"/>
                  <a:pt x="1129742" y="130219"/>
                </a:cubicBezTo>
                <a:lnTo>
                  <a:pt x="1133725" y="163587"/>
                </a:lnTo>
                <a:lnTo>
                  <a:pt x="1144510" y="203062"/>
                </a:lnTo>
                <a:lnTo>
                  <a:pt x="1170810" y="251055"/>
                </a:lnTo>
                <a:lnTo>
                  <a:pt x="1202596" y="288253"/>
                </a:lnTo>
                <a:lnTo>
                  <a:pt x="1256898" y="332489"/>
                </a:lnTo>
                <a:lnTo>
                  <a:pt x="1311665" y="369921"/>
                </a:lnTo>
                <a:lnTo>
                  <a:pt x="341058" y="1149364"/>
                </a:lnTo>
                <a:lnTo>
                  <a:pt x="285670" y="1092718"/>
                </a:lnTo>
                <a:lnTo>
                  <a:pt x="244941" y="1048489"/>
                </a:lnTo>
                <a:lnTo>
                  <a:pt x="213607" y="1013565"/>
                </a:lnTo>
                <a:lnTo>
                  <a:pt x="183066" y="973386"/>
                </a:lnTo>
                <a:lnTo>
                  <a:pt x="152237" y="926548"/>
                </a:lnTo>
                <a:lnTo>
                  <a:pt x="124498" y="876396"/>
                </a:lnTo>
                <a:lnTo>
                  <a:pt x="78143" y="793955"/>
                </a:lnTo>
                <a:lnTo>
                  <a:pt x="51653" y="725590"/>
                </a:lnTo>
                <a:lnTo>
                  <a:pt x="25230" y="647454"/>
                </a:lnTo>
                <a:lnTo>
                  <a:pt x="8699" y="557021"/>
                </a:lnTo>
                <a:lnTo>
                  <a:pt x="1805" y="490369"/>
                </a:lnTo>
                <a:cubicBezTo>
                  <a:pt x="1203" y="466563"/>
                  <a:pt x="602" y="442758"/>
                  <a:pt x="0" y="418952"/>
                </a:cubicBezTo>
                <a:cubicBezTo>
                  <a:pt x="401" y="403799"/>
                  <a:pt x="3452" y="373566"/>
                  <a:pt x="3853" y="358413"/>
                </a:cubicBezTo>
                <a:lnTo>
                  <a:pt x="12125" y="270485"/>
                </a:lnTo>
                <a:lnTo>
                  <a:pt x="28367" y="198765"/>
                </a:lnTo>
                <a:lnTo>
                  <a:pt x="51654" y="127394"/>
                </a:lnTo>
                <a:lnTo>
                  <a:pt x="66410" y="88059"/>
                </a:lnTo>
                <a:lnTo>
                  <a:pt x="88738" y="38921"/>
                </a:lnTo>
                <a:lnTo>
                  <a:pt x="113739" y="9986"/>
                </a:lnTo>
                <a:lnTo>
                  <a:pt x="1156544" y="0"/>
                </a:lnTo>
                <a:close/>
              </a:path>
            </a:pathLst>
          </a:custGeom>
          <a:solidFill>
            <a:srgbClr val="2B4C58">
              <a:alpha val="50000"/>
            </a:srgbClr>
          </a:solidFill>
          <a:ln w="9525" cap="flat" cmpd="sng" algn="ctr">
            <a:solidFill>
              <a:srgbClr val="2B4C58"/>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10" name="Rounded Rectangle 1009"/>
          <p:cNvSpPr/>
          <p:nvPr>
            <p:custDataLst>
              <p:tags r:id="rId13"/>
            </p:custDataLst>
          </p:nvPr>
        </p:nvSpPr>
        <p:spPr>
          <a:xfrm>
            <a:off x="1720219" y="1776601"/>
            <a:ext cx="1041400" cy="774700"/>
          </a:xfrm>
          <a:prstGeom prst="roundRect">
            <a:avLst/>
          </a:prstGeom>
          <a:solidFill>
            <a:schemeClr val="tx1"/>
          </a:solidFill>
          <a:ln w="9525">
            <a:solidFill>
              <a:srgbClr val="2B4C58"/>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91546" rIns="45720"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a:solidFill>
                  <a:srgbClr val="FFFFFF"/>
                </a:solidFill>
              </a:rPr>
              <a:t>Supply </a:t>
            </a:r>
            <a:r>
              <a:rPr lang="en-US" sz="1000" b="1" dirty="0" smtClean="0">
                <a:solidFill>
                  <a:srgbClr val="FFFFFF"/>
                </a:solidFill>
              </a:rPr>
              <a:t>chain &amp; </a:t>
            </a:r>
            <a:r>
              <a:rPr lang="en-US" sz="1000" b="1" dirty="0">
                <a:solidFill>
                  <a:srgbClr val="FFFFFF"/>
                </a:solidFill>
              </a:rPr>
              <a:t>logistics</a:t>
            </a:r>
          </a:p>
        </p:txBody>
      </p:sp>
      <p:sp>
        <p:nvSpPr>
          <p:cNvPr id="1011" name="Rounded Rectangle 1010"/>
          <p:cNvSpPr/>
          <p:nvPr>
            <p:custDataLst>
              <p:tags r:id="rId14"/>
            </p:custDataLst>
          </p:nvPr>
        </p:nvSpPr>
        <p:spPr>
          <a:xfrm>
            <a:off x="2516325" y="3414660"/>
            <a:ext cx="1040662" cy="776014"/>
          </a:xfrm>
          <a:prstGeom prst="roundRect">
            <a:avLst/>
          </a:prstGeom>
          <a:solidFill>
            <a:schemeClr val="tx1"/>
          </a:solidFill>
          <a:ln w="9525">
            <a:solidFill>
              <a:srgbClr val="F7CB00"/>
            </a:solidFill>
          </a:ln>
          <a:effectLst/>
        </p:spPr>
        <p:style>
          <a:lnRef idx="2">
            <a:schemeClr val="accent1">
              <a:shade val="50000"/>
            </a:schemeClr>
          </a:lnRef>
          <a:fillRef idx="1">
            <a:schemeClr val="accent1"/>
          </a:fillRef>
          <a:effectRef idx="0">
            <a:schemeClr val="accent1"/>
          </a:effectRef>
          <a:fontRef idx="minor">
            <a:schemeClr val="lt1"/>
          </a:fontRef>
        </p:style>
        <p:txBody>
          <a:bodyPr lIns="93006" tIns="91546" rIns="93006"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lnSpc>
                <a:spcPts val="1000"/>
              </a:lnSpc>
              <a:spcAft>
                <a:spcPct val="0"/>
              </a:spcAft>
            </a:pPr>
            <a:r>
              <a:rPr lang="en-US" sz="1000" b="1" dirty="0" smtClean="0">
                <a:solidFill>
                  <a:srgbClr val="FFFFFF"/>
                </a:solidFill>
              </a:rPr>
              <a:t>Monitoring &amp; use of data</a:t>
            </a:r>
            <a:endParaRPr lang="en-US" sz="1000" b="1" dirty="0">
              <a:solidFill>
                <a:srgbClr val="FFFFFF"/>
              </a:solidFill>
            </a:endParaRPr>
          </a:p>
        </p:txBody>
      </p:sp>
      <p:sp>
        <p:nvSpPr>
          <p:cNvPr id="1012" name="Freeform 1011"/>
          <p:cNvSpPr/>
          <p:nvPr>
            <p:custDataLst>
              <p:tags r:id="rId15"/>
            </p:custDataLst>
          </p:nvPr>
        </p:nvSpPr>
        <p:spPr bwMode="gray">
          <a:xfrm>
            <a:off x="3632022" y="2255317"/>
            <a:ext cx="3707034" cy="3429641"/>
          </a:xfrm>
          <a:custGeom>
            <a:avLst/>
            <a:gdLst>
              <a:gd name="connsiteX0" fmla="*/ 0 w 923027"/>
              <a:gd name="connsiteY0" fmla="*/ 0 h 1069676"/>
              <a:gd name="connsiteX1" fmla="*/ 923027 w 923027"/>
              <a:gd name="connsiteY1" fmla="*/ 0 h 1069676"/>
              <a:gd name="connsiteX2" fmla="*/ 923027 w 923027"/>
              <a:gd name="connsiteY2" fmla="*/ 1069676 h 1069676"/>
              <a:gd name="connsiteX3" fmla="*/ 0 w 923027"/>
              <a:gd name="connsiteY3" fmla="*/ 1069676 h 1069676"/>
              <a:gd name="connsiteX4" fmla="*/ 0 w 923027"/>
              <a:gd name="connsiteY4" fmla="*/ 0 h 1069676"/>
              <a:gd name="connsiteX0" fmla="*/ 0 w 923027"/>
              <a:gd name="connsiteY0" fmla="*/ 17252 h 1086928"/>
              <a:gd name="connsiteX1" fmla="*/ 483080 w 923027"/>
              <a:gd name="connsiteY1" fmla="*/ 0 h 1086928"/>
              <a:gd name="connsiteX2" fmla="*/ 923027 w 923027"/>
              <a:gd name="connsiteY2" fmla="*/ 17252 h 1086928"/>
              <a:gd name="connsiteX3" fmla="*/ 923027 w 923027"/>
              <a:gd name="connsiteY3" fmla="*/ 1086928 h 1086928"/>
              <a:gd name="connsiteX4" fmla="*/ 0 w 923027"/>
              <a:gd name="connsiteY4" fmla="*/ 1086928 h 1086928"/>
              <a:gd name="connsiteX5" fmla="*/ 0 w 923027"/>
              <a:gd name="connsiteY5" fmla="*/ 17252 h 1086928"/>
              <a:gd name="connsiteX0" fmla="*/ 0 w 923027"/>
              <a:gd name="connsiteY0" fmla="*/ 17252 h 1086928"/>
              <a:gd name="connsiteX1" fmla="*/ 483080 w 923027"/>
              <a:gd name="connsiteY1" fmla="*/ 0 h 1086928"/>
              <a:gd name="connsiteX2" fmla="*/ 741872 w 923027"/>
              <a:gd name="connsiteY2" fmla="*/ 0 h 1086928"/>
              <a:gd name="connsiteX3" fmla="*/ 923027 w 923027"/>
              <a:gd name="connsiteY3" fmla="*/ 17252 h 1086928"/>
              <a:gd name="connsiteX4" fmla="*/ 923027 w 923027"/>
              <a:gd name="connsiteY4" fmla="*/ 1086928 h 1086928"/>
              <a:gd name="connsiteX5" fmla="*/ 0 w 923027"/>
              <a:gd name="connsiteY5" fmla="*/ 1086928 h 1086928"/>
              <a:gd name="connsiteX6" fmla="*/ 0 w 923027"/>
              <a:gd name="connsiteY6"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0 w 923027"/>
              <a:gd name="connsiteY6" fmla="*/ 1086928 h 1086928"/>
              <a:gd name="connsiteX7" fmla="*/ 0 w 923027"/>
              <a:gd name="connsiteY7"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0 w 923027"/>
              <a:gd name="connsiteY7" fmla="*/ 1086928 h 1086928"/>
              <a:gd name="connsiteX8" fmla="*/ 0 w 923027"/>
              <a:gd name="connsiteY8"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241540 w 923027"/>
              <a:gd name="connsiteY6" fmla="*/ 1078301 h 1086928"/>
              <a:gd name="connsiteX7" fmla="*/ 500332 w 923027"/>
              <a:gd name="connsiteY7" fmla="*/ 1078301 h 1086928"/>
              <a:gd name="connsiteX8" fmla="*/ 0 w 923027"/>
              <a:gd name="connsiteY8" fmla="*/ 1086928 h 1086928"/>
              <a:gd name="connsiteX9" fmla="*/ 0 w 923027"/>
              <a:gd name="connsiteY9" fmla="*/ 17252 h 1086928"/>
              <a:gd name="connsiteX0" fmla="*/ 0 w 923027"/>
              <a:gd name="connsiteY0" fmla="*/ 17252 h 1086928"/>
              <a:gd name="connsiteX1" fmla="*/ 250166 w 923027"/>
              <a:gd name="connsiteY1" fmla="*/ 0 h 1086928"/>
              <a:gd name="connsiteX2" fmla="*/ 483080 w 923027"/>
              <a:gd name="connsiteY2" fmla="*/ 0 h 1086928"/>
              <a:gd name="connsiteX3" fmla="*/ 741872 w 923027"/>
              <a:gd name="connsiteY3" fmla="*/ 0 h 1086928"/>
              <a:gd name="connsiteX4" fmla="*/ 923027 w 923027"/>
              <a:gd name="connsiteY4" fmla="*/ 17252 h 1086928"/>
              <a:gd name="connsiteX5" fmla="*/ 923027 w 923027"/>
              <a:gd name="connsiteY5" fmla="*/ 1086928 h 1086928"/>
              <a:gd name="connsiteX6" fmla="*/ 707366 w 923027"/>
              <a:gd name="connsiteY6" fmla="*/ 1086928 h 1086928"/>
              <a:gd name="connsiteX7" fmla="*/ 241540 w 923027"/>
              <a:gd name="connsiteY7" fmla="*/ 1078301 h 1086928"/>
              <a:gd name="connsiteX8" fmla="*/ 500332 w 923027"/>
              <a:gd name="connsiteY8" fmla="*/ 1078301 h 1086928"/>
              <a:gd name="connsiteX9" fmla="*/ 0 w 923027"/>
              <a:gd name="connsiteY9" fmla="*/ 1086928 h 1086928"/>
              <a:gd name="connsiteX10" fmla="*/ 0 w 923027"/>
              <a:gd name="connsiteY10" fmla="*/ 17252 h 1086928"/>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241540 w 923027"/>
              <a:gd name="connsiteY7" fmla="*/ 1078301 h 1164566"/>
              <a:gd name="connsiteX8" fmla="*/ 500332 w 923027"/>
              <a:gd name="connsiteY8" fmla="*/ 1078301 h 1164566"/>
              <a:gd name="connsiteX9" fmla="*/ 0 w 923027"/>
              <a:gd name="connsiteY9" fmla="*/ 1086928 h 1164566"/>
              <a:gd name="connsiteX10" fmla="*/ 0 w 923027"/>
              <a:gd name="connsiteY10" fmla="*/ 17252 h 1164566"/>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41540 w 923027"/>
              <a:gd name="connsiteY7" fmla="*/ 1078301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207035 w 923027"/>
              <a:gd name="connsiteY7" fmla="*/ 116456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73192"/>
              <a:gd name="connsiteX1" fmla="*/ 250166 w 923027"/>
              <a:gd name="connsiteY1" fmla="*/ 0 h 1173192"/>
              <a:gd name="connsiteX2" fmla="*/ 483080 w 923027"/>
              <a:gd name="connsiteY2" fmla="*/ 0 h 1173192"/>
              <a:gd name="connsiteX3" fmla="*/ 741872 w 923027"/>
              <a:gd name="connsiteY3" fmla="*/ 0 h 1173192"/>
              <a:gd name="connsiteX4" fmla="*/ 923027 w 923027"/>
              <a:gd name="connsiteY4" fmla="*/ 17252 h 1173192"/>
              <a:gd name="connsiteX5" fmla="*/ 923027 w 923027"/>
              <a:gd name="connsiteY5" fmla="*/ 1086928 h 1173192"/>
              <a:gd name="connsiteX6" fmla="*/ 715992 w 923027"/>
              <a:gd name="connsiteY6" fmla="*/ 1164566 h 1173192"/>
              <a:gd name="connsiteX7" fmla="*/ 527075 w 923027"/>
              <a:gd name="connsiteY7" fmla="*/ 1061695 h 1173192"/>
              <a:gd name="connsiteX8" fmla="*/ 508959 w 923027"/>
              <a:gd name="connsiteY8" fmla="*/ 1173192 h 1173192"/>
              <a:gd name="connsiteX9" fmla="*/ 0 w 923027"/>
              <a:gd name="connsiteY9" fmla="*/ 1086928 h 1173192"/>
              <a:gd name="connsiteX10" fmla="*/ 0 w 923027"/>
              <a:gd name="connsiteY10" fmla="*/ 17252 h 1173192"/>
              <a:gd name="connsiteX0" fmla="*/ 0 w 923027"/>
              <a:gd name="connsiteY0" fmla="*/ 17252 h 1164566"/>
              <a:gd name="connsiteX1" fmla="*/ 250166 w 923027"/>
              <a:gd name="connsiteY1" fmla="*/ 0 h 1164566"/>
              <a:gd name="connsiteX2" fmla="*/ 483080 w 923027"/>
              <a:gd name="connsiteY2" fmla="*/ 0 h 1164566"/>
              <a:gd name="connsiteX3" fmla="*/ 741872 w 923027"/>
              <a:gd name="connsiteY3" fmla="*/ 0 h 1164566"/>
              <a:gd name="connsiteX4" fmla="*/ 923027 w 923027"/>
              <a:gd name="connsiteY4" fmla="*/ 17252 h 1164566"/>
              <a:gd name="connsiteX5" fmla="*/ 923027 w 923027"/>
              <a:gd name="connsiteY5" fmla="*/ 1086928 h 1164566"/>
              <a:gd name="connsiteX6" fmla="*/ 715992 w 923027"/>
              <a:gd name="connsiteY6" fmla="*/ 1164566 h 1164566"/>
              <a:gd name="connsiteX7" fmla="*/ 527075 w 923027"/>
              <a:gd name="connsiteY7" fmla="*/ 1061695 h 1164566"/>
              <a:gd name="connsiteX8" fmla="*/ 253689 w 923027"/>
              <a:gd name="connsiteY8" fmla="*/ 1161762 h 1164566"/>
              <a:gd name="connsiteX9" fmla="*/ 0 w 923027"/>
              <a:gd name="connsiteY9" fmla="*/ 1086928 h 1164566"/>
              <a:gd name="connsiteX10" fmla="*/ 0 w 923027"/>
              <a:gd name="connsiteY10" fmla="*/ 17252 h 1164566"/>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253689 w 923027"/>
              <a:gd name="connsiteY8" fmla="*/ 116176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8516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3027"/>
              <a:gd name="connsiteY0" fmla="*/ 17252 h 1175995"/>
              <a:gd name="connsiteX1" fmla="*/ 250166 w 923027"/>
              <a:gd name="connsiteY1" fmla="*/ 0 h 1175995"/>
              <a:gd name="connsiteX2" fmla="*/ 483080 w 923027"/>
              <a:gd name="connsiteY2" fmla="*/ 0 h 1175995"/>
              <a:gd name="connsiteX3" fmla="*/ 741872 w 923027"/>
              <a:gd name="connsiteY3" fmla="*/ 0 h 1175995"/>
              <a:gd name="connsiteX4" fmla="*/ 923027 w 923027"/>
              <a:gd name="connsiteY4" fmla="*/ 17252 h 1175995"/>
              <a:gd name="connsiteX5" fmla="*/ 923027 w 923027"/>
              <a:gd name="connsiteY5" fmla="*/ 1086928 h 1175995"/>
              <a:gd name="connsiteX6" fmla="*/ 715992 w 923027"/>
              <a:gd name="connsiteY6" fmla="*/ 1164566 h 1175995"/>
              <a:gd name="connsiteX7" fmla="*/ 473735 w 923027"/>
              <a:gd name="connsiteY7" fmla="*/ 1175995 h 1175995"/>
              <a:gd name="connsiteX8" fmla="*/ 177489 w 923027"/>
              <a:gd name="connsiteY8" fmla="*/ 1154142 h 1175995"/>
              <a:gd name="connsiteX9" fmla="*/ 0 w 923027"/>
              <a:gd name="connsiteY9" fmla="*/ 1086928 h 1175995"/>
              <a:gd name="connsiteX10" fmla="*/ 0 w 923027"/>
              <a:gd name="connsiteY10" fmla="*/ 17252 h 1175995"/>
              <a:gd name="connsiteX0" fmla="*/ 0 w 926837"/>
              <a:gd name="connsiteY0" fmla="*/ 17252 h 1175995"/>
              <a:gd name="connsiteX1" fmla="*/ 250166 w 926837"/>
              <a:gd name="connsiteY1" fmla="*/ 0 h 1175995"/>
              <a:gd name="connsiteX2" fmla="*/ 483080 w 926837"/>
              <a:gd name="connsiteY2" fmla="*/ 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741872 w 926837"/>
              <a:gd name="connsiteY3" fmla="*/ 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17252 h 1175995"/>
              <a:gd name="connsiteX1" fmla="*/ 250166 w 926837"/>
              <a:gd name="connsiteY1" fmla="*/ 0 h 1175995"/>
              <a:gd name="connsiteX2" fmla="*/ 475460 w 926837"/>
              <a:gd name="connsiteY2" fmla="*/ 19050 h 1175995"/>
              <a:gd name="connsiteX3" fmla="*/ 593282 w 926837"/>
              <a:gd name="connsiteY3" fmla="*/ 3810 h 1175995"/>
              <a:gd name="connsiteX4" fmla="*/ 923027 w 926837"/>
              <a:gd name="connsiteY4" fmla="*/ 17252 h 1175995"/>
              <a:gd name="connsiteX5" fmla="*/ 926837 w 926837"/>
              <a:gd name="connsiteY5" fmla="*/ 1117408 h 1175995"/>
              <a:gd name="connsiteX6" fmla="*/ 715992 w 926837"/>
              <a:gd name="connsiteY6" fmla="*/ 1164566 h 1175995"/>
              <a:gd name="connsiteX7" fmla="*/ 473735 w 926837"/>
              <a:gd name="connsiteY7" fmla="*/ 1175995 h 1175995"/>
              <a:gd name="connsiteX8" fmla="*/ 177489 w 926837"/>
              <a:gd name="connsiteY8" fmla="*/ 1154142 h 1175995"/>
              <a:gd name="connsiteX9" fmla="*/ 0 w 926837"/>
              <a:gd name="connsiteY9" fmla="*/ 1086928 h 1175995"/>
              <a:gd name="connsiteX10" fmla="*/ 0 w 926837"/>
              <a:gd name="connsiteY10" fmla="*/ 17252 h 1175995"/>
              <a:gd name="connsiteX0" fmla="*/ 0 w 926837"/>
              <a:gd name="connsiteY0" fmla="*/ 30480 h 1189223"/>
              <a:gd name="connsiteX1" fmla="*/ 250166 w 926837"/>
              <a:gd name="connsiteY1" fmla="*/ 1322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0 w 926837"/>
              <a:gd name="connsiteY0" fmla="*/ 3048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0 w 926837"/>
              <a:gd name="connsiteY10" fmla="*/ 30480 h 1189223"/>
              <a:gd name="connsiteX0" fmla="*/ 312420 w 926837"/>
              <a:gd name="connsiteY0" fmla="*/ 22860 h 1189223"/>
              <a:gd name="connsiteX1" fmla="*/ 402566 w 926837"/>
              <a:gd name="connsiteY1" fmla="*/ 24658 h 1189223"/>
              <a:gd name="connsiteX2" fmla="*/ 47546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12420 w 926837"/>
              <a:gd name="connsiteY0" fmla="*/ 2286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12420 w 926837"/>
              <a:gd name="connsiteY10" fmla="*/ 22860 h 1189223"/>
              <a:gd name="connsiteX0" fmla="*/ 320040 w 926837"/>
              <a:gd name="connsiteY0" fmla="*/ 11430 h 1189223"/>
              <a:gd name="connsiteX1" fmla="*/ 402566 w 926837"/>
              <a:gd name="connsiteY1" fmla="*/ 24658 h 1189223"/>
              <a:gd name="connsiteX2" fmla="*/ 490700 w 926837"/>
              <a:gd name="connsiteY2" fmla="*/ 3608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926837"/>
              <a:gd name="connsiteY0" fmla="*/ 11430 h 1189223"/>
              <a:gd name="connsiteX1" fmla="*/ 402566 w 926837"/>
              <a:gd name="connsiteY1" fmla="*/ 24658 h 1189223"/>
              <a:gd name="connsiteX2" fmla="*/ 490700 w 926837"/>
              <a:gd name="connsiteY2" fmla="*/ 32278 h 1189223"/>
              <a:gd name="connsiteX3" fmla="*/ 593282 w 926837"/>
              <a:gd name="connsiteY3" fmla="*/ 17038 h 1189223"/>
              <a:gd name="connsiteX4" fmla="*/ 663947 w 926837"/>
              <a:gd name="connsiteY4" fmla="*/ 0 h 1189223"/>
              <a:gd name="connsiteX5" fmla="*/ 926837 w 926837"/>
              <a:gd name="connsiteY5" fmla="*/ 1130636 h 1189223"/>
              <a:gd name="connsiteX6" fmla="*/ 715992 w 926837"/>
              <a:gd name="connsiteY6" fmla="*/ 1177794 h 1189223"/>
              <a:gd name="connsiteX7" fmla="*/ 473735 w 926837"/>
              <a:gd name="connsiteY7" fmla="*/ 1189223 h 1189223"/>
              <a:gd name="connsiteX8" fmla="*/ 177489 w 926837"/>
              <a:gd name="connsiteY8" fmla="*/ 1167370 h 1189223"/>
              <a:gd name="connsiteX9" fmla="*/ 0 w 926837"/>
              <a:gd name="connsiteY9" fmla="*/ 1100156 h 1189223"/>
              <a:gd name="connsiteX10" fmla="*/ 320040 w 926837"/>
              <a:gd name="connsiteY10" fmla="*/ 11430 h 1189223"/>
              <a:gd name="connsiteX0" fmla="*/ 320040 w 1596219"/>
              <a:gd name="connsiteY0" fmla="*/ 11430 h 1189223"/>
              <a:gd name="connsiteX1" fmla="*/ 402566 w 1596219"/>
              <a:gd name="connsiteY1" fmla="*/ 24658 h 1189223"/>
              <a:gd name="connsiteX2" fmla="*/ 490700 w 1596219"/>
              <a:gd name="connsiteY2" fmla="*/ 32278 h 1189223"/>
              <a:gd name="connsiteX3" fmla="*/ 593282 w 1596219"/>
              <a:gd name="connsiteY3" fmla="*/ 17038 h 1189223"/>
              <a:gd name="connsiteX4" fmla="*/ 663947 w 1596219"/>
              <a:gd name="connsiteY4" fmla="*/ 0 h 1189223"/>
              <a:gd name="connsiteX5" fmla="*/ 1596219 w 1596219"/>
              <a:gd name="connsiteY5" fmla="*/ 661601 h 1189223"/>
              <a:gd name="connsiteX6" fmla="*/ 715992 w 1596219"/>
              <a:gd name="connsiteY6" fmla="*/ 1177794 h 1189223"/>
              <a:gd name="connsiteX7" fmla="*/ 473735 w 1596219"/>
              <a:gd name="connsiteY7" fmla="*/ 1189223 h 1189223"/>
              <a:gd name="connsiteX8" fmla="*/ 177489 w 1596219"/>
              <a:gd name="connsiteY8" fmla="*/ 1167370 h 1189223"/>
              <a:gd name="connsiteX9" fmla="*/ 0 w 1596219"/>
              <a:gd name="connsiteY9" fmla="*/ 1100156 h 1189223"/>
              <a:gd name="connsiteX10" fmla="*/ 320040 w 1596219"/>
              <a:gd name="connsiteY10" fmla="*/ 11430 h 1189223"/>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715992 w 1596219"/>
              <a:gd name="connsiteY6" fmla="*/ 1210867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473735 w 1596219"/>
              <a:gd name="connsiteY7" fmla="*/ 1222296 h 1222296"/>
              <a:gd name="connsiteX8" fmla="*/ 177489 w 1596219"/>
              <a:gd name="connsiteY8" fmla="*/ 1200443 h 1222296"/>
              <a:gd name="connsiteX9" fmla="*/ 0 w 1596219"/>
              <a:gd name="connsiteY9" fmla="*/ 1133229 h 1222296"/>
              <a:gd name="connsiteX10" fmla="*/ 320040 w 1596219"/>
              <a:gd name="connsiteY10"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473735 w 1596219"/>
              <a:gd name="connsiteY8" fmla="*/ 1222296 h 1222296"/>
              <a:gd name="connsiteX9" fmla="*/ 177489 w 1596219"/>
              <a:gd name="connsiteY9" fmla="*/ 1200443 h 1222296"/>
              <a:gd name="connsiteX10" fmla="*/ 0 w 1596219"/>
              <a:gd name="connsiteY10" fmla="*/ 1133229 h 1222296"/>
              <a:gd name="connsiteX11" fmla="*/ 320040 w 1596219"/>
              <a:gd name="connsiteY11"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473735 w 1596219"/>
              <a:gd name="connsiteY9" fmla="*/ 1222296 h 1222296"/>
              <a:gd name="connsiteX10" fmla="*/ 177489 w 1596219"/>
              <a:gd name="connsiteY10" fmla="*/ 1200443 h 1222296"/>
              <a:gd name="connsiteX11" fmla="*/ 0 w 1596219"/>
              <a:gd name="connsiteY11" fmla="*/ 1133229 h 1222296"/>
              <a:gd name="connsiteX12" fmla="*/ 320040 w 1596219"/>
              <a:gd name="connsiteY12"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473735 w 1596219"/>
              <a:gd name="connsiteY10" fmla="*/ 1222296 h 1222296"/>
              <a:gd name="connsiteX11" fmla="*/ 177489 w 1596219"/>
              <a:gd name="connsiteY11" fmla="*/ 1200443 h 1222296"/>
              <a:gd name="connsiteX12" fmla="*/ 0 w 1596219"/>
              <a:gd name="connsiteY12" fmla="*/ 1133229 h 1222296"/>
              <a:gd name="connsiteX13" fmla="*/ 320040 w 1596219"/>
              <a:gd name="connsiteY13"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196174 w 1596219"/>
              <a:gd name="connsiteY7" fmla="*/ 933660 h 1222296"/>
              <a:gd name="connsiteX8" fmla="*/ 1045662 w 1596219"/>
              <a:gd name="connsiteY8" fmla="*/ 996799 h 1222296"/>
              <a:gd name="connsiteX9" fmla="*/ 827815 w 1596219"/>
              <a:gd name="connsiteY9" fmla="*/ 1086998 h 1222296"/>
              <a:gd name="connsiteX10" fmla="*/ 629774 w 1596219"/>
              <a:gd name="connsiteY10" fmla="*/ 1168177 h 1222296"/>
              <a:gd name="connsiteX11" fmla="*/ 473735 w 1596219"/>
              <a:gd name="connsiteY11" fmla="*/ 1222296 h 1222296"/>
              <a:gd name="connsiteX12" fmla="*/ 177489 w 1596219"/>
              <a:gd name="connsiteY12" fmla="*/ 1200443 h 1222296"/>
              <a:gd name="connsiteX13" fmla="*/ 0 w 1596219"/>
              <a:gd name="connsiteY13" fmla="*/ 1133229 h 1222296"/>
              <a:gd name="connsiteX14" fmla="*/ 320040 w 1596219"/>
              <a:gd name="connsiteY14"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488356 w 1596219"/>
              <a:gd name="connsiteY6" fmla="*/ 820005 h 1222296"/>
              <a:gd name="connsiteX7" fmla="*/ 1314999 w 1596219"/>
              <a:gd name="connsiteY7" fmla="*/ 885554 h 1222296"/>
              <a:gd name="connsiteX8" fmla="*/ 1196174 w 1596219"/>
              <a:gd name="connsiteY8" fmla="*/ 933660 h 1222296"/>
              <a:gd name="connsiteX9" fmla="*/ 1045662 w 1596219"/>
              <a:gd name="connsiteY9" fmla="*/ 996799 h 1222296"/>
              <a:gd name="connsiteX10" fmla="*/ 827815 w 1596219"/>
              <a:gd name="connsiteY10" fmla="*/ 1086998 h 1222296"/>
              <a:gd name="connsiteX11" fmla="*/ 629774 w 1596219"/>
              <a:gd name="connsiteY11" fmla="*/ 1168177 h 1222296"/>
              <a:gd name="connsiteX12" fmla="*/ 473735 w 1596219"/>
              <a:gd name="connsiteY12" fmla="*/ 1222296 h 1222296"/>
              <a:gd name="connsiteX13" fmla="*/ 177489 w 1596219"/>
              <a:gd name="connsiteY13" fmla="*/ 1200443 h 1222296"/>
              <a:gd name="connsiteX14" fmla="*/ 0 w 1596219"/>
              <a:gd name="connsiteY14" fmla="*/ 1133229 h 1222296"/>
              <a:gd name="connsiteX15" fmla="*/ 320040 w 1596219"/>
              <a:gd name="connsiteY15" fmla="*/ 44503 h 1222296"/>
              <a:gd name="connsiteX0" fmla="*/ 320040 w 1596219"/>
              <a:gd name="connsiteY0" fmla="*/ 44503 h 1222296"/>
              <a:gd name="connsiteX1" fmla="*/ 402566 w 1596219"/>
              <a:gd name="connsiteY1" fmla="*/ 57731 h 1222296"/>
              <a:gd name="connsiteX2" fmla="*/ 490700 w 1596219"/>
              <a:gd name="connsiteY2" fmla="*/ 65351 h 1222296"/>
              <a:gd name="connsiteX3" fmla="*/ 593282 w 1596219"/>
              <a:gd name="connsiteY3" fmla="*/ 50111 h 1222296"/>
              <a:gd name="connsiteX4" fmla="*/ 632260 w 1596219"/>
              <a:gd name="connsiteY4" fmla="*/ 0 h 1222296"/>
              <a:gd name="connsiteX5" fmla="*/ 1596219 w 1596219"/>
              <a:gd name="connsiteY5" fmla="*/ 694674 h 1222296"/>
              <a:gd name="connsiteX6" fmla="*/ 1532845 w 1596219"/>
              <a:gd name="connsiteY6" fmla="*/ 771302 h 1222296"/>
              <a:gd name="connsiteX7" fmla="*/ 1488356 w 1596219"/>
              <a:gd name="connsiteY7" fmla="*/ 820005 h 1222296"/>
              <a:gd name="connsiteX8" fmla="*/ 1314999 w 1596219"/>
              <a:gd name="connsiteY8" fmla="*/ 885554 h 1222296"/>
              <a:gd name="connsiteX9" fmla="*/ 1196174 w 1596219"/>
              <a:gd name="connsiteY9" fmla="*/ 933660 h 1222296"/>
              <a:gd name="connsiteX10" fmla="*/ 1045662 w 1596219"/>
              <a:gd name="connsiteY10" fmla="*/ 996799 h 1222296"/>
              <a:gd name="connsiteX11" fmla="*/ 827815 w 1596219"/>
              <a:gd name="connsiteY11" fmla="*/ 1086998 h 1222296"/>
              <a:gd name="connsiteX12" fmla="*/ 629774 w 1596219"/>
              <a:gd name="connsiteY12" fmla="*/ 1168177 h 1222296"/>
              <a:gd name="connsiteX13" fmla="*/ 473735 w 1596219"/>
              <a:gd name="connsiteY13" fmla="*/ 1222296 h 1222296"/>
              <a:gd name="connsiteX14" fmla="*/ 177489 w 1596219"/>
              <a:gd name="connsiteY14" fmla="*/ 1200443 h 1222296"/>
              <a:gd name="connsiteX15" fmla="*/ 0 w 1596219"/>
              <a:gd name="connsiteY15" fmla="*/ 1133229 h 1222296"/>
              <a:gd name="connsiteX16" fmla="*/ 320040 w 1596219"/>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88356 w 1607172"/>
              <a:gd name="connsiteY7" fmla="*/ 820005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14999 w 1607172"/>
              <a:gd name="connsiteY8" fmla="*/ 885554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96174 w 1607172"/>
              <a:gd name="connsiteY9" fmla="*/ 933660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45662 w 1607172"/>
              <a:gd name="connsiteY10" fmla="*/ 996799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27815 w 1607172"/>
              <a:gd name="connsiteY11" fmla="*/ 1086998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629774 w 1607172"/>
              <a:gd name="connsiteY12" fmla="*/ 1168177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22296"/>
              <a:gd name="connsiteX1" fmla="*/ 402566 w 1607172"/>
              <a:gd name="connsiteY1" fmla="*/ 57731 h 1222296"/>
              <a:gd name="connsiteX2" fmla="*/ 490700 w 1607172"/>
              <a:gd name="connsiteY2" fmla="*/ 65351 h 1222296"/>
              <a:gd name="connsiteX3" fmla="*/ 593282 w 1607172"/>
              <a:gd name="connsiteY3" fmla="*/ 50111 h 1222296"/>
              <a:gd name="connsiteX4" fmla="*/ 632260 w 1607172"/>
              <a:gd name="connsiteY4" fmla="*/ 0 h 1222296"/>
              <a:gd name="connsiteX5" fmla="*/ 1607172 w 1607172"/>
              <a:gd name="connsiteY5" fmla="*/ 691903 h 1222296"/>
              <a:gd name="connsiteX6" fmla="*/ 1532845 w 1607172"/>
              <a:gd name="connsiteY6" fmla="*/ 771302 h 1222296"/>
              <a:gd name="connsiteX7" fmla="*/ 1431768 w 1607172"/>
              <a:gd name="connsiteY7" fmla="*/ 862961 h 1222296"/>
              <a:gd name="connsiteX8" fmla="*/ 1327777 w 1607172"/>
              <a:gd name="connsiteY8" fmla="*/ 931281 h 1222296"/>
              <a:gd name="connsiteX9" fmla="*/ 1185222 w 1607172"/>
              <a:gd name="connsiteY9" fmla="*/ 1005715 h 1222296"/>
              <a:gd name="connsiteX10" fmla="*/ 1032884 w 1607172"/>
              <a:gd name="connsiteY10" fmla="*/ 1078554 h 1222296"/>
              <a:gd name="connsiteX11" fmla="*/ 895357 w 1607172"/>
              <a:gd name="connsiteY11" fmla="*/ 1121639 h 1222296"/>
              <a:gd name="connsiteX12" fmla="*/ 715569 w 1607172"/>
              <a:gd name="connsiteY12" fmla="*/ 1164020 h 1222296"/>
              <a:gd name="connsiteX13" fmla="*/ 473735 w 1607172"/>
              <a:gd name="connsiteY13" fmla="*/ 1222296 h 1222296"/>
              <a:gd name="connsiteX14" fmla="*/ 177489 w 1607172"/>
              <a:gd name="connsiteY14" fmla="*/ 1200443 h 1222296"/>
              <a:gd name="connsiteX15" fmla="*/ 0 w 1607172"/>
              <a:gd name="connsiteY15" fmla="*/ 1133229 h 1222296"/>
              <a:gd name="connsiteX16" fmla="*/ 320040 w 1607172"/>
              <a:gd name="connsiteY16" fmla="*/ 44503 h 1222296"/>
              <a:gd name="connsiteX0" fmla="*/ 320040 w 1607172"/>
              <a:gd name="connsiteY0" fmla="*/ 44503 h 1200443"/>
              <a:gd name="connsiteX1" fmla="*/ 402566 w 1607172"/>
              <a:gd name="connsiteY1" fmla="*/ 57731 h 1200443"/>
              <a:gd name="connsiteX2" fmla="*/ 490700 w 1607172"/>
              <a:gd name="connsiteY2" fmla="*/ 65351 h 1200443"/>
              <a:gd name="connsiteX3" fmla="*/ 593282 w 1607172"/>
              <a:gd name="connsiteY3" fmla="*/ 50111 h 1200443"/>
              <a:gd name="connsiteX4" fmla="*/ 632260 w 1607172"/>
              <a:gd name="connsiteY4" fmla="*/ 0 h 1200443"/>
              <a:gd name="connsiteX5" fmla="*/ 1607172 w 1607172"/>
              <a:gd name="connsiteY5" fmla="*/ 691903 h 1200443"/>
              <a:gd name="connsiteX6" fmla="*/ 1532845 w 1607172"/>
              <a:gd name="connsiteY6" fmla="*/ 771302 h 1200443"/>
              <a:gd name="connsiteX7" fmla="*/ 1431768 w 1607172"/>
              <a:gd name="connsiteY7" fmla="*/ 862961 h 1200443"/>
              <a:gd name="connsiteX8" fmla="*/ 1327777 w 1607172"/>
              <a:gd name="connsiteY8" fmla="*/ 931281 h 1200443"/>
              <a:gd name="connsiteX9" fmla="*/ 1185222 w 1607172"/>
              <a:gd name="connsiteY9" fmla="*/ 1005715 h 1200443"/>
              <a:gd name="connsiteX10" fmla="*/ 1032884 w 1607172"/>
              <a:gd name="connsiteY10" fmla="*/ 1078554 h 1200443"/>
              <a:gd name="connsiteX11" fmla="*/ 895357 w 1607172"/>
              <a:gd name="connsiteY11" fmla="*/ 1121639 h 1200443"/>
              <a:gd name="connsiteX12" fmla="*/ 715569 w 1607172"/>
              <a:gd name="connsiteY12" fmla="*/ 1164020 h 1200443"/>
              <a:gd name="connsiteX13" fmla="*/ 491990 w 1607172"/>
              <a:gd name="connsiteY13" fmla="*/ 1186269 h 1200443"/>
              <a:gd name="connsiteX14" fmla="*/ 177489 w 1607172"/>
              <a:gd name="connsiteY14" fmla="*/ 1200443 h 1200443"/>
              <a:gd name="connsiteX15" fmla="*/ 0 w 1607172"/>
              <a:gd name="connsiteY15" fmla="*/ 1133229 h 1200443"/>
              <a:gd name="connsiteX16" fmla="*/ 320040 w 1607172"/>
              <a:gd name="connsiteY16" fmla="*/ 44503 h 1200443"/>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0 w 1607172"/>
              <a:gd name="connsiteY15" fmla="*/ 1133229 h 1186269"/>
              <a:gd name="connsiteX16" fmla="*/ 320040 w 1607172"/>
              <a:gd name="connsiteY16"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54128 w 1607172"/>
              <a:gd name="connsiteY15" fmla="*/ 1157249 h 1186269"/>
              <a:gd name="connsiteX16" fmla="*/ 0 w 1607172"/>
              <a:gd name="connsiteY16" fmla="*/ 1133229 h 1186269"/>
              <a:gd name="connsiteX17" fmla="*/ 320040 w 1607172"/>
              <a:gd name="connsiteY17" fmla="*/ 44503 h 1186269"/>
              <a:gd name="connsiteX0" fmla="*/ 320040 w 1607172"/>
              <a:gd name="connsiteY0" fmla="*/ 44503 h 1186269"/>
              <a:gd name="connsiteX1" fmla="*/ 402566 w 1607172"/>
              <a:gd name="connsiteY1" fmla="*/ 57731 h 1186269"/>
              <a:gd name="connsiteX2" fmla="*/ 490700 w 1607172"/>
              <a:gd name="connsiteY2" fmla="*/ 65351 h 1186269"/>
              <a:gd name="connsiteX3" fmla="*/ 593282 w 1607172"/>
              <a:gd name="connsiteY3" fmla="*/ 50111 h 1186269"/>
              <a:gd name="connsiteX4" fmla="*/ 632260 w 1607172"/>
              <a:gd name="connsiteY4" fmla="*/ 0 h 1186269"/>
              <a:gd name="connsiteX5" fmla="*/ 1607172 w 1607172"/>
              <a:gd name="connsiteY5" fmla="*/ 691903 h 1186269"/>
              <a:gd name="connsiteX6" fmla="*/ 1532845 w 1607172"/>
              <a:gd name="connsiteY6" fmla="*/ 771302 h 1186269"/>
              <a:gd name="connsiteX7" fmla="*/ 1431768 w 1607172"/>
              <a:gd name="connsiteY7" fmla="*/ 862961 h 1186269"/>
              <a:gd name="connsiteX8" fmla="*/ 1327777 w 1607172"/>
              <a:gd name="connsiteY8" fmla="*/ 931281 h 1186269"/>
              <a:gd name="connsiteX9" fmla="*/ 1185222 w 1607172"/>
              <a:gd name="connsiteY9" fmla="*/ 1005715 h 1186269"/>
              <a:gd name="connsiteX10" fmla="*/ 1032884 w 1607172"/>
              <a:gd name="connsiteY10" fmla="*/ 1078554 h 1186269"/>
              <a:gd name="connsiteX11" fmla="*/ 895357 w 1607172"/>
              <a:gd name="connsiteY11" fmla="*/ 1121639 h 1186269"/>
              <a:gd name="connsiteX12" fmla="*/ 715569 w 1607172"/>
              <a:gd name="connsiteY12" fmla="*/ 1164020 h 1186269"/>
              <a:gd name="connsiteX13" fmla="*/ 491990 w 1607172"/>
              <a:gd name="connsiteY13" fmla="*/ 1186269 h 1186269"/>
              <a:gd name="connsiteX14" fmla="*/ 297967 w 1607172"/>
              <a:gd name="connsiteY14" fmla="*/ 1185201 h 1186269"/>
              <a:gd name="connsiteX15" fmla="*/ 143175 w 1607172"/>
              <a:gd name="connsiteY15" fmla="*/ 1173877 h 1186269"/>
              <a:gd name="connsiteX16" fmla="*/ 0 w 1607172"/>
              <a:gd name="connsiteY16" fmla="*/ 1133229 h 1186269"/>
              <a:gd name="connsiteX17" fmla="*/ 320040 w 1607172"/>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0 w 1702094"/>
              <a:gd name="connsiteY16" fmla="*/ 1126301 h 1186269"/>
              <a:gd name="connsiteX17" fmla="*/ 414962 w 1702094"/>
              <a:gd name="connsiteY17"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2492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44503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44503 h 1186269"/>
              <a:gd name="connsiteX0" fmla="*/ 414962 w 1702094"/>
              <a:gd name="connsiteY0" fmla="*/ 36189 h 1186269"/>
              <a:gd name="connsiteX1" fmla="*/ 497488 w 1702094"/>
              <a:gd name="connsiteY1" fmla="*/ 57731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5622 w 1702094"/>
              <a:gd name="connsiteY2" fmla="*/ 65351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88204 w 1702094"/>
              <a:gd name="connsiteY3" fmla="*/ 50111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36189 h 1186269"/>
              <a:gd name="connsiteX1" fmla="*/ 490187 w 1702094"/>
              <a:gd name="connsiteY1" fmla="*/ 42489 h 1186269"/>
              <a:gd name="connsiteX2" fmla="*/ 581971 w 1702094"/>
              <a:gd name="connsiteY2" fmla="*/ 36252 h 1186269"/>
              <a:gd name="connsiteX3" fmla="*/ 648044 w 1702094"/>
              <a:gd name="connsiteY3" fmla="*/ 16855 h 1186269"/>
              <a:gd name="connsiteX4" fmla="*/ 727182 w 1702094"/>
              <a:gd name="connsiteY4" fmla="*/ 0 h 1186269"/>
              <a:gd name="connsiteX5" fmla="*/ 1702094 w 1702094"/>
              <a:gd name="connsiteY5" fmla="*/ 691903 h 1186269"/>
              <a:gd name="connsiteX6" fmla="*/ 1627767 w 1702094"/>
              <a:gd name="connsiteY6" fmla="*/ 771302 h 1186269"/>
              <a:gd name="connsiteX7" fmla="*/ 1526690 w 1702094"/>
              <a:gd name="connsiteY7" fmla="*/ 862961 h 1186269"/>
              <a:gd name="connsiteX8" fmla="*/ 1422699 w 1702094"/>
              <a:gd name="connsiteY8" fmla="*/ 931281 h 1186269"/>
              <a:gd name="connsiteX9" fmla="*/ 1280144 w 1702094"/>
              <a:gd name="connsiteY9" fmla="*/ 1005715 h 1186269"/>
              <a:gd name="connsiteX10" fmla="*/ 1127806 w 1702094"/>
              <a:gd name="connsiteY10" fmla="*/ 1078554 h 1186269"/>
              <a:gd name="connsiteX11" fmla="*/ 990279 w 1702094"/>
              <a:gd name="connsiteY11" fmla="*/ 1121639 h 1186269"/>
              <a:gd name="connsiteX12" fmla="*/ 810491 w 1702094"/>
              <a:gd name="connsiteY12" fmla="*/ 1164020 h 1186269"/>
              <a:gd name="connsiteX13" fmla="*/ 586912 w 1702094"/>
              <a:gd name="connsiteY13" fmla="*/ 1186269 h 1186269"/>
              <a:gd name="connsiteX14" fmla="*/ 392889 w 1702094"/>
              <a:gd name="connsiteY14" fmla="*/ 1185201 h 1186269"/>
              <a:gd name="connsiteX15" fmla="*/ 238097 w 1702094"/>
              <a:gd name="connsiteY15" fmla="*/ 1173877 h 1186269"/>
              <a:gd name="connsiteX16" fmla="*/ 101191 w 1702094"/>
              <a:gd name="connsiteY16" fmla="*/ 1151706 h 1186269"/>
              <a:gd name="connsiteX17" fmla="*/ 0 w 1702094"/>
              <a:gd name="connsiteY17" fmla="*/ 1126301 h 1186269"/>
              <a:gd name="connsiteX18" fmla="*/ 414962 w 1702094"/>
              <a:gd name="connsiteY18" fmla="*/ 36189 h 1186269"/>
              <a:gd name="connsiteX0" fmla="*/ 414962 w 1702094"/>
              <a:gd name="connsiteY0" fmla="*/ 55588 h 1205668"/>
              <a:gd name="connsiteX1" fmla="*/ 490187 w 1702094"/>
              <a:gd name="connsiteY1" fmla="*/ 61888 h 1205668"/>
              <a:gd name="connsiteX2" fmla="*/ 581971 w 1702094"/>
              <a:gd name="connsiteY2" fmla="*/ 55651 h 1205668"/>
              <a:gd name="connsiteX3" fmla="*/ 648044 w 1702094"/>
              <a:gd name="connsiteY3" fmla="*/ 36254 h 1205668"/>
              <a:gd name="connsiteX4" fmla="*/ 727182 w 1702094"/>
              <a:gd name="connsiteY4" fmla="*/ 0 h 1205668"/>
              <a:gd name="connsiteX5" fmla="*/ 1702094 w 1702094"/>
              <a:gd name="connsiteY5" fmla="*/ 711302 h 1205668"/>
              <a:gd name="connsiteX6" fmla="*/ 1627767 w 1702094"/>
              <a:gd name="connsiteY6" fmla="*/ 790701 h 1205668"/>
              <a:gd name="connsiteX7" fmla="*/ 1526690 w 1702094"/>
              <a:gd name="connsiteY7" fmla="*/ 882360 h 1205668"/>
              <a:gd name="connsiteX8" fmla="*/ 1422699 w 1702094"/>
              <a:gd name="connsiteY8" fmla="*/ 950680 h 1205668"/>
              <a:gd name="connsiteX9" fmla="*/ 1280144 w 1702094"/>
              <a:gd name="connsiteY9" fmla="*/ 1025114 h 1205668"/>
              <a:gd name="connsiteX10" fmla="*/ 1127806 w 1702094"/>
              <a:gd name="connsiteY10" fmla="*/ 1097953 h 1205668"/>
              <a:gd name="connsiteX11" fmla="*/ 990279 w 1702094"/>
              <a:gd name="connsiteY11" fmla="*/ 1141038 h 1205668"/>
              <a:gd name="connsiteX12" fmla="*/ 810491 w 1702094"/>
              <a:gd name="connsiteY12" fmla="*/ 1183419 h 1205668"/>
              <a:gd name="connsiteX13" fmla="*/ 586912 w 1702094"/>
              <a:gd name="connsiteY13" fmla="*/ 1205668 h 1205668"/>
              <a:gd name="connsiteX14" fmla="*/ 392889 w 1702094"/>
              <a:gd name="connsiteY14" fmla="*/ 1204600 h 1205668"/>
              <a:gd name="connsiteX15" fmla="*/ 238097 w 1702094"/>
              <a:gd name="connsiteY15" fmla="*/ 1193276 h 1205668"/>
              <a:gd name="connsiteX16" fmla="*/ 101191 w 1702094"/>
              <a:gd name="connsiteY16" fmla="*/ 1171105 h 1205668"/>
              <a:gd name="connsiteX17" fmla="*/ 0 w 1702094"/>
              <a:gd name="connsiteY17" fmla="*/ 1145700 h 1205668"/>
              <a:gd name="connsiteX18" fmla="*/ 414962 w 1702094"/>
              <a:gd name="connsiteY18" fmla="*/ 55588 h 1205668"/>
              <a:gd name="connsiteX0" fmla="*/ 414962 w 1702094"/>
              <a:gd name="connsiteY0" fmla="*/ 51431 h 1201511"/>
              <a:gd name="connsiteX1" fmla="*/ 490187 w 1702094"/>
              <a:gd name="connsiteY1" fmla="*/ 57731 h 1201511"/>
              <a:gd name="connsiteX2" fmla="*/ 581971 w 1702094"/>
              <a:gd name="connsiteY2" fmla="*/ 51494 h 1201511"/>
              <a:gd name="connsiteX3" fmla="*/ 648044 w 1702094"/>
              <a:gd name="connsiteY3" fmla="*/ 32097 h 1201511"/>
              <a:gd name="connsiteX4" fmla="*/ 705277 w 1702094"/>
              <a:gd name="connsiteY4" fmla="*/ 0 h 1201511"/>
              <a:gd name="connsiteX5" fmla="*/ 1702094 w 1702094"/>
              <a:gd name="connsiteY5" fmla="*/ 707145 h 1201511"/>
              <a:gd name="connsiteX6" fmla="*/ 1627767 w 1702094"/>
              <a:gd name="connsiteY6" fmla="*/ 786544 h 1201511"/>
              <a:gd name="connsiteX7" fmla="*/ 1526690 w 1702094"/>
              <a:gd name="connsiteY7" fmla="*/ 878203 h 1201511"/>
              <a:gd name="connsiteX8" fmla="*/ 1422699 w 1702094"/>
              <a:gd name="connsiteY8" fmla="*/ 946523 h 1201511"/>
              <a:gd name="connsiteX9" fmla="*/ 1280144 w 1702094"/>
              <a:gd name="connsiteY9" fmla="*/ 1020957 h 1201511"/>
              <a:gd name="connsiteX10" fmla="*/ 1127806 w 1702094"/>
              <a:gd name="connsiteY10" fmla="*/ 1093796 h 1201511"/>
              <a:gd name="connsiteX11" fmla="*/ 990279 w 1702094"/>
              <a:gd name="connsiteY11" fmla="*/ 1136881 h 1201511"/>
              <a:gd name="connsiteX12" fmla="*/ 810491 w 1702094"/>
              <a:gd name="connsiteY12" fmla="*/ 1179262 h 1201511"/>
              <a:gd name="connsiteX13" fmla="*/ 586912 w 1702094"/>
              <a:gd name="connsiteY13" fmla="*/ 1201511 h 1201511"/>
              <a:gd name="connsiteX14" fmla="*/ 392889 w 1702094"/>
              <a:gd name="connsiteY14" fmla="*/ 1200443 h 1201511"/>
              <a:gd name="connsiteX15" fmla="*/ 238097 w 1702094"/>
              <a:gd name="connsiteY15" fmla="*/ 1189119 h 1201511"/>
              <a:gd name="connsiteX16" fmla="*/ 101191 w 1702094"/>
              <a:gd name="connsiteY16" fmla="*/ 1166948 h 1201511"/>
              <a:gd name="connsiteX17" fmla="*/ 0 w 1702094"/>
              <a:gd name="connsiteY17" fmla="*/ 1141543 h 1201511"/>
              <a:gd name="connsiteX18" fmla="*/ 414962 w 1702094"/>
              <a:gd name="connsiteY18" fmla="*/ 51431 h 1201511"/>
              <a:gd name="connsiteX0" fmla="*/ 414962 w 1702094"/>
              <a:gd name="connsiteY0" fmla="*/ 45279 h 1195359"/>
              <a:gd name="connsiteX1" fmla="*/ 490187 w 1702094"/>
              <a:gd name="connsiteY1" fmla="*/ 51579 h 1195359"/>
              <a:gd name="connsiteX2" fmla="*/ 581971 w 1702094"/>
              <a:gd name="connsiteY2" fmla="*/ 45342 h 1195359"/>
              <a:gd name="connsiteX3" fmla="*/ 648044 w 1702094"/>
              <a:gd name="connsiteY3" fmla="*/ 25945 h 1195359"/>
              <a:gd name="connsiteX4" fmla="*/ 710140 w 1702094"/>
              <a:gd name="connsiteY4" fmla="*/ 0 h 1195359"/>
              <a:gd name="connsiteX5" fmla="*/ 1702094 w 1702094"/>
              <a:gd name="connsiteY5" fmla="*/ 700993 h 1195359"/>
              <a:gd name="connsiteX6" fmla="*/ 1627767 w 1702094"/>
              <a:gd name="connsiteY6" fmla="*/ 780392 h 1195359"/>
              <a:gd name="connsiteX7" fmla="*/ 1526690 w 1702094"/>
              <a:gd name="connsiteY7" fmla="*/ 872051 h 1195359"/>
              <a:gd name="connsiteX8" fmla="*/ 1422699 w 1702094"/>
              <a:gd name="connsiteY8" fmla="*/ 940371 h 1195359"/>
              <a:gd name="connsiteX9" fmla="*/ 1280144 w 1702094"/>
              <a:gd name="connsiteY9" fmla="*/ 1014805 h 1195359"/>
              <a:gd name="connsiteX10" fmla="*/ 1127806 w 1702094"/>
              <a:gd name="connsiteY10" fmla="*/ 1087644 h 1195359"/>
              <a:gd name="connsiteX11" fmla="*/ 990279 w 1702094"/>
              <a:gd name="connsiteY11" fmla="*/ 1130729 h 1195359"/>
              <a:gd name="connsiteX12" fmla="*/ 810491 w 1702094"/>
              <a:gd name="connsiteY12" fmla="*/ 1173110 h 1195359"/>
              <a:gd name="connsiteX13" fmla="*/ 586912 w 1702094"/>
              <a:gd name="connsiteY13" fmla="*/ 1195359 h 1195359"/>
              <a:gd name="connsiteX14" fmla="*/ 392889 w 1702094"/>
              <a:gd name="connsiteY14" fmla="*/ 1194291 h 1195359"/>
              <a:gd name="connsiteX15" fmla="*/ 238097 w 1702094"/>
              <a:gd name="connsiteY15" fmla="*/ 1182967 h 1195359"/>
              <a:gd name="connsiteX16" fmla="*/ 101191 w 1702094"/>
              <a:gd name="connsiteY16" fmla="*/ 1160796 h 1195359"/>
              <a:gd name="connsiteX17" fmla="*/ 0 w 1702094"/>
              <a:gd name="connsiteY17" fmla="*/ 1135391 h 1195359"/>
              <a:gd name="connsiteX18" fmla="*/ 414962 w 1702094"/>
              <a:gd name="connsiteY18" fmla="*/ 45279 h 1195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02094" h="1195359">
                <a:moveTo>
                  <a:pt x="414962" y="45279"/>
                </a:moveTo>
                <a:lnTo>
                  <a:pt x="490187" y="51579"/>
                </a:lnTo>
                <a:lnTo>
                  <a:pt x="581971" y="45342"/>
                </a:lnTo>
                <a:lnTo>
                  <a:pt x="648044" y="25945"/>
                </a:lnTo>
                <a:lnTo>
                  <a:pt x="710140" y="0"/>
                </a:lnTo>
                <a:lnTo>
                  <a:pt x="1702094" y="700993"/>
                </a:lnTo>
                <a:lnTo>
                  <a:pt x="1627767" y="780392"/>
                </a:lnTo>
                <a:lnTo>
                  <a:pt x="1526690" y="872051"/>
                </a:lnTo>
                <a:lnTo>
                  <a:pt x="1422699" y="940371"/>
                </a:lnTo>
                <a:lnTo>
                  <a:pt x="1280144" y="1014805"/>
                </a:lnTo>
                <a:lnTo>
                  <a:pt x="1127806" y="1087644"/>
                </a:lnTo>
                <a:lnTo>
                  <a:pt x="990279" y="1130729"/>
                </a:lnTo>
                <a:lnTo>
                  <a:pt x="810491" y="1173110"/>
                </a:lnTo>
                <a:lnTo>
                  <a:pt x="586912" y="1195359"/>
                </a:lnTo>
                <a:lnTo>
                  <a:pt x="392889" y="1194291"/>
                </a:lnTo>
                <a:lnTo>
                  <a:pt x="238097" y="1182967"/>
                </a:lnTo>
                <a:lnTo>
                  <a:pt x="101191" y="1160796"/>
                </a:lnTo>
                <a:lnTo>
                  <a:pt x="0" y="1135391"/>
                </a:lnTo>
                <a:lnTo>
                  <a:pt x="414962" y="45279"/>
                </a:lnTo>
                <a:close/>
              </a:path>
            </a:pathLst>
          </a:custGeom>
          <a:solidFill>
            <a:srgbClr val="CE6B29">
              <a:alpha val="50000"/>
            </a:srgbClr>
          </a:solidFill>
          <a:ln w="9525" cap="flat" cmpd="sng" algn="ctr">
            <a:solidFill>
              <a:srgbClr val="CE6B29"/>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13" name="Rounded Rectangle 1012"/>
          <p:cNvSpPr/>
          <p:nvPr>
            <p:custDataLst>
              <p:tags r:id="rId16"/>
            </p:custDataLst>
          </p:nvPr>
        </p:nvSpPr>
        <p:spPr>
          <a:xfrm>
            <a:off x="4816342" y="3892284"/>
            <a:ext cx="1041400" cy="774700"/>
          </a:xfrm>
          <a:prstGeom prst="roundRect">
            <a:avLst/>
          </a:prstGeom>
          <a:solidFill>
            <a:schemeClr val="tx1"/>
          </a:solidFill>
          <a:ln w="9525">
            <a:solidFill>
              <a:srgbClr val="CE6B29"/>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91546" rIns="45720" bIns="91546" rtlCol="0" anchor="ctr" anchorCtr="0"/>
          <a:lstStyle>
            <a:defPPr>
              <a:defRPr lang="en-US"/>
            </a:defPPr>
            <a:lvl1pPr marL="0" algn="l" defTabSz="914206" rtl="0" eaLnBrk="1" latinLnBrk="0" hangingPunct="1">
              <a:defRPr sz="1800" kern="1200">
                <a:solidFill>
                  <a:schemeClr val="lt1"/>
                </a:solidFill>
                <a:latin typeface="+mn-lt"/>
                <a:ea typeface="+mn-ea"/>
                <a:cs typeface="+mn-cs"/>
              </a:defRPr>
            </a:lvl1pPr>
            <a:lvl2pPr marL="457102" algn="l" defTabSz="914206" rtl="0" eaLnBrk="1" latinLnBrk="0" hangingPunct="1">
              <a:defRPr sz="1800" kern="1200">
                <a:solidFill>
                  <a:schemeClr val="lt1"/>
                </a:solidFill>
                <a:latin typeface="+mn-lt"/>
                <a:ea typeface="+mn-ea"/>
                <a:cs typeface="+mn-cs"/>
              </a:defRPr>
            </a:lvl2pPr>
            <a:lvl3pPr marL="914206" algn="l" defTabSz="914206" rtl="0" eaLnBrk="1" latinLnBrk="0" hangingPunct="1">
              <a:defRPr sz="1800" kern="1200">
                <a:solidFill>
                  <a:schemeClr val="lt1"/>
                </a:solidFill>
                <a:latin typeface="+mn-lt"/>
                <a:ea typeface="+mn-ea"/>
                <a:cs typeface="+mn-cs"/>
              </a:defRPr>
            </a:lvl3pPr>
            <a:lvl4pPr marL="1371309" algn="l" defTabSz="914206" rtl="0" eaLnBrk="1" latinLnBrk="0" hangingPunct="1">
              <a:defRPr sz="1800" kern="1200">
                <a:solidFill>
                  <a:schemeClr val="lt1"/>
                </a:solidFill>
                <a:latin typeface="+mn-lt"/>
                <a:ea typeface="+mn-ea"/>
                <a:cs typeface="+mn-cs"/>
              </a:defRPr>
            </a:lvl4pPr>
            <a:lvl5pPr marL="1828413" algn="l" defTabSz="914206" rtl="0" eaLnBrk="1" latinLnBrk="0" hangingPunct="1">
              <a:defRPr sz="1800" kern="1200">
                <a:solidFill>
                  <a:schemeClr val="lt1"/>
                </a:solidFill>
                <a:latin typeface="+mn-lt"/>
                <a:ea typeface="+mn-ea"/>
                <a:cs typeface="+mn-cs"/>
              </a:defRPr>
            </a:lvl5pPr>
            <a:lvl6pPr marL="2285516" algn="l" defTabSz="914206" rtl="0" eaLnBrk="1" latinLnBrk="0" hangingPunct="1">
              <a:defRPr sz="1800" kern="1200">
                <a:solidFill>
                  <a:schemeClr val="lt1"/>
                </a:solidFill>
                <a:latin typeface="+mn-lt"/>
                <a:ea typeface="+mn-ea"/>
                <a:cs typeface="+mn-cs"/>
              </a:defRPr>
            </a:lvl6pPr>
            <a:lvl7pPr marL="2742618" algn="l" defTabSz="914206" rtl="0" eaLnBrk="1" latinLnBrk="0" hangingPunct="1">
              <a:defRPr sz="1800" kern="1200">
                <a:solidFill>
                  <a:schemeClr val="lt1"/>
                </a:solidFill>
                <a:latin typeface="+mn-lt"/>
                <a:ea typeface="+mn-ea"/>
                <a:cs typeface="+mn-cs"/>
              </a:defRPr>
            </a:lvl7pPr>
            <a:lvl8pPr marL="3199722" algn="l" defTabSz="914206" rtl="0" eaLnBrk="1" latinLnBrk="0" hangingPunct="1">
              <a:defRPr sz="1800" kern="1200">
                <a:solidFill>
                  <a:schemeClr val="lt1"/>
                </a:solidFill>
                <a:latin typeface="+mn-lt"/>
                <a:ea typeface="+mn-ea"/>
                <a:cs typeface="+mn-cs"/>
              </a:defRPr>
            </a:lvl8pPr>
            <a:lvl9pPr marL="3656824" algn="l" defTabSz="914206" rtl="0" eaLnBrk="1" latinLnBrk="0" hangingPunct="1">
              <a:defRPr sz="1800" kern="1200">
                <a:solidFill>
                  <a:schemeClr val="lt1"/>
                </a:solidFill>
                <a:latin typeface="+mn-lt"/>
                <a:ea typeface="+mn-ea"/>
                <a:cs typeface="+mn-cs"/>
              </a:defRPr>
            </a:lvl9pPr>
          </a:lstStyle>
          <a:p>
            <a:pPr algn="ctr" fontAlgn="base">
              <a:spcBef>
                <a:spcPct val="50000"/>
              </a:spcBef>
              <a:spcAft>
                <a:spcPct val="0"/>
              </a:spcAft>
            </a:pPr>
            <a:r>
              <a:rPr lang="en-US" sz="1000" b="1" dirty="0" smtClean="0">
                <a:solidFill>
                  <a:srgbClr val="FFFFFF"/>
                </a:solidFill>
              </a:rPr>
              <a:t>Performance management, training, leadership</a:t>
            </a:r>
            <a:endParaRPr lang="en-US" sz="1000" b="1" dirty="0">
              <a:solidFill>
                <a:srgbClr val="FFFFFF"/>
              </a:solidFill>
            </a:endParaRPr>
          </a:p>
        </p:txBody>
      </p:sp>
      <p:grpSp>
        <p:nvGrpSpPr>
          <p:cNvPr id="42" name="Group 1013"/>
          <p:cNvGrpSpPr/>
          <p:nvPr/>
        </p:nvGrpSpPr>
        <p:grpSpPr>
          <a:xfrm>
            <a:off x="0" y="-743849"/>
            <a:ext cx="9126743" cy="7601849"/>
            <a:chOff x="0" y="-743849"/>
            <a:chExt cx="9126743" cy="7601849"/>
          </a:xfrm>
        </p:grpSpPr>
        <p:sp>
          <p:nvSpPr>
            <p:cNvPr id="1015" name="Rectangle 5"/>
            <p:cNvSpPr>
              <a:spLocks noChangeArrowheads="1"/>
            </p:cNvSpPr>
            <p:nvPr>
              <p:custDataLst>
                <p:tags r:id="rId17"/>
              </p:custDataLst>
            </p:nvPr>
          </p:nvSpPr>
          <p:spPr bwMode="gray">
            <a:xfrm>
              <a:off x="0" y="441434"/>
              <a:ext cx="9126743" cy="6416566"/>
            </a:xfrm>
            <a:prstGeom prst="rect">
              <a:avLst/>
            </a:prstGeom>
            <a:solidFill>
              <a:schemeClr val="bg1"/>
            </a:solid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endParaRPr lang="en-US" sz="1000" b="1" dirty="0" smtClean="0">
                <a:solidFill>
                  <a:srgbClr val="FFFFFF"/>
                </a:solidFill>
                <a:latin typeface="Gill Sans MT" pitchFamily="34" charset="0"/>
                <a:cs typeface="Arial" charset="0"/>
              </a:endParaRPr>
            </a:p>
          </p:txBody>
        </p:sp>
        <p:sp>
          <p:nvSpPr>
            <p:cNvPr id="1016" name="Rounded Rectangle 1015"/>
            <p:cNvSpPr/>
            <p:nvPr>
              <p:custDataLst>
                <p:tags r:id="rId18"/>
              </p:custDataLst>
            </p:nvPr>
          </p:nvSpPr>
          <p:spPr bwMode="gray">
            <a:xfrm>
              <a:off x="793630" y="541657"/>
              <a:ext cx="7668883" cy="5925817"/>
            </a:xfrm>
            <a:prstGeom prst="roundRect">
              <a:avLst/>
            </a:prstGeom>
            <a:solidFill>
              <a:schemeClr val="accent5">
                <a:lumMod val="75000"/>
              </a:schemeClr>
            </a:solidFill>
            <a:ln w="9525" cap="flat" cmpd="sng" algn="ctr">
              <a:solidFill>
                <a:srgbClr val="8CB7C7"/>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dirty="0">
                <a:solidFill>
                  <a:srgbClr val="59452A"/>
                </a:solidFill>
                <a:latin typeface="Gill Sans MT" pitchFamily="34" charset="0"/>
                <a:cs typeface="Arial" charset="0"/>
              </a:endParaRPr>
            </a:p>
          </p:txBody>
        </p:sp>
        <p:sp>
          <p:nvSpPr>
            <p:cNvPr id="1017" name="Rectangle 5"/>
            <p:cNvSpPr>
              <a:spLocks noChangeArrowheads="1"/>
            </p:cNvSpPr>
            <p:nvPr>
              <p:custDataLst>
                <p:tags r:id="rId19"/>
              </p:custDataLst>
            </p:nvPr>
          </p:nvSpPr>
          <p:spPr bwMode="gray">
            <a:xfrm>
              <a:off x="1643351" y="965639"/>
              <a:ext cx="649795" cy="194775"/>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GLOBAL</a:t>
              </a:r>
            </a:p>
          </p:txBody>
        </p:sp>
        <p:sp>
          <p:nvSpPr>
            <p:cNvPr id="1018" name="Rectangle 5"/>
            <p:cNvSpPr>
              <a:spLocks noChangeArrowheads="1"/>
            </p:cNvSpPr>
            <p:nvPr>
              <p:custDataLst>
                <p:tags r:id="rId20"/>
              </p:custDataLst>
            </p:nvPr>
          </p:nvSpPr>
          <p:spPr bwMode="gray">
            <a:xfrm>
              <a:off x="2361459" y="969914"/>
              <a:ext cx="846954"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NATIONAL</a:t>
              </a:r>
            </a:p>
          </p:txBody>
        </p:sp>
        <p:sp>
          <p:nvSpPr>
            <p:cNvPr id="1019" name="Rectangle 5"/>
            <p:cNvSpPr>
              <a:spLocks noChangeArrowheads="1"/>
            </p:cNvSpPr>
            <p:nvPr>
              <p:custDataLst>
                <p:tags r:id="rId21"/>
              </p:custDataLst>
            </p:nvPr>
          </p:nvSpPr>
          <p:spPr bwMode="gray">
            <a:xfrm>
              <a:off x="3287383" y="969914"/>
              <a:ext cx="614503" cy="190500"/>
            </a:xfrm>
            <a:prstGeom prst="roundRect">
              <a:avLst/>
            </a:prstGeom>
            <a:noFill/>
            <a:ln w="38100" algn="ctr">
              <a:solidFill>
                <a:srgbClr val="D5CB99"/>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D5CB99"/>
                  </a:solidFill>
                  <a:latin typeface="Gill Sans MT" pitchFamily="34" charset="0"/>
                  <a:cs typeface="Arial" charset="0"/>
                </a:rPr>
                <a:t>LOCAL</a:t>
              </a:r>
            </a:p>
          </p:txBody>
        </p:sp>
        <p:sp>
          <p:nvSpPr>
            <p:cNvPr id="1020" name="Rectangle 5"/>
            <p:cNvSpPr>
              <a:spLocks noChangeArrowheads="1"/>
            </p:cNvSpPr>
            <p:nvPr>
              <p:custDataLst>
                <p:tags r:id="rId22"/>
              </p:custDataLst>
            </p:nvPr>
          </p:nvSpPr>
          <p:spPr bwMode="gray">
            <a:xfrm>
              <a:off x="1624458" y="5925835"/>
              <a:ext cx="1947270" cy="326935"/>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POLITICAL COMMITMENT</a:t>
              </a:r>
            </a:p>
          </p:txBody>
        </p:sp>
        <p:sp>
          <p:nvSpPr>
            <p:cNvPr id="1021" name="Rectangle 5"/>
            <p:cNvSpPr>
              <a:spLocks noChangeArrowheads="1"/>
            </p:cNvSpPr>
            <p:nvPr>
              <p:custDataLst>
                <p:tags r:id="rId23"/>
              </p:custDataLst>
            </p:nvPr>
          </p:nvSpPr>
          <p:spPr bwMode="gray">
            <a:xfrm>
              <a:off x="3775388"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FINANCING &amp; PRICING</a:t>
              </a:r>
            </a:p>
          </p:txBody>
        </p:sp>
        <p:sp>
          <p:nvSpPr>
            <p:cNvPr id="1022" name="Chord 1021"/>
            <p:cNvSpPr/>
            <p:nvPr>
              <p:custDataLst>
                <p:tags r:id="rId24"/>
              </p:custDataLst>
            </p:nvPr>
          </p:nvSpPr>
          <p:spPr bwMode="gray">
            <a:xfrm rot="17541648">
              <a:off x="1424429" y="-785020"/>
              <a:ext cx="6431013" cy="6513356"/>
            </a:xfrm>
            <a:prstGeom prst="chord">
              <a:avLst>
                <a:gd name="adj1" fmla="val 2667511"/>
                <a:gd name="adj2" fmla="val 16200000"/>
              </a:avLst>
            </a:prstGeom>
            <a:solidFill>
              <a:schemeClr val="bg2">
                <a:lumMod val="40000"/>
                <a:lumOff val="6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23" name="Chord 1022"/>
            <p:cNvSpPr/>
            <p:nvPr>
              <p:custDataLst>
                <p:tags r:id="rId25"/>
              </p:custDataLst>
            </p:nvPr>
          </p:nvSpPr>
          <p:spPr bwMode="gray">
            <a:xfrm rot="17541648">
              <a:off x="2183927" y="-337811"/>
              <a:ext cx="5041711" cy="5041711"/>
            </a:xfrm>
            <a:prstGeom prst="chord">
              <a:avLst>
                <a:gd name="adj1" fmla="val 2690809"/>
                <a:gd name="adj2" fmla="val 16200000"/>
              </a:avLst>
            </a:prstGeom>
            <a:solidFill>
              <a:schemeClr val="bg2">
                <a:lumMod val="20000"/>
                <a:lumOff val="80000"/>
              </a:schemeClr>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dirty="0">
                <a:solidFill>
                  <a:srgbClr val="59452A"/>
                </a:solidFill>
                <a:latin typeface="Trebuchet MS" pitchFamily="34" charset="0"/>
                <a:cs typeface="Arial" charset="0"/>
              </a:endParaRPr>
            </a:p>
          </p:txBody>
        </p:sp>
        <p:sp>
          <p:nvSpPr>
            <p:cNvPr id="1024" name="Chord 1023"/>
            <p:cNvSpPr/>
            <p:nvPr>
              <p:custDataLst>
                <p:tags r:id="rId26"/>
              </p:custDataLst>
            </p:nvPr>
          </p:nvSpPr>
          <p:spPr bwMode="gray">
            <a:xfrm rot="17541648">
              <a:off x="3018183" y="182158"/>
              <a:ext cx="3373199" cy="3373199"/>
            </a:xfrm>
            <a:prstGeom prst="chord">
              <a:avLst/>
            </a:prstGeom>
            <a:solidFill>
              <a:srgbClr val="F9F6F1"/>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25" name="Chord 1024"/>
            <p:cNvSpPr/>
            <p:nvPr>
              <p:custDataLst>
                <p:tags r:id="rId27"/>
              </p:custDataLst>
            </p:nvPr>
          </p:nvSpPr>
          <p:spPr bwMode="gray">
            <a:xfrm rot="17541648">
              <a:off x="3854254" y="693028"/>
              <a:ext cx="1701057" cy="1701057"/>
            </a:xfrm>
            <a:prstGeom prst="chord">
              <a:avLst/>
            </a:prstGeom>
            <a:solidFill>
              <a:srgbClr val="F9F9F9"/>
            </a:solidFill>
            <a:ln w="19050" cap="flat" cmpd="sng" algn="ctr">
              <a:solidFill>
                <a:srgbClr val="80808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cxnSp>
          <p:nvCxnSpPr>
            <p:cNvPr id="1026" name="Straight Connector 1025"/>
            <p:cNvCxnSpPr/>
            <p:nvPr>
              <p:custDataLst>
                <p:tags r:id="rId28"/>
              </p:custDataLst>
            </p:nvPr>
          </p:nvCxnSpPr>
          <p:spPr bwMode="auto">
            <a:xfrm flipV="1">
              <a:off x="2138808" y="2269702"/>
              <a:ext cx="2120151" cy="2248939"/>
            </a:xfrm>
            <a:prstGeom prst="line">
              <a:avLst/>
            </a:prstGeom>
            <a:noFill/>
            <a:ln w="19050" cap="flat" cmpd="sng" algn="ctr">
              <a:solidFill>
                <a:srgbClr val="4D4D4D"/>
              </a:solidFill>
              <a:prstDash val="solid"/>
              <a:round/>
              <a:headEnd type="none" w="med" len="med"/>
              <a:tailEnd type="none" w="med" len="med"/>
            </a:ln>
            <a:effectLst/>
          </p:spPr>
        </p:cxnSp>
        <p:cxnSp>
          <p:nvCxnSpPr>
            <p:cNvPr id="1027" name="Straight Connector 1026"/>
            <p:cNvCxnSpPr/>
            <p:nvPr>
              <p:custDataLst>
                <p:tags r:id="rId29"/>
              </p:custDataLst>
            </p:nvPr>
          </p:nvCxnSpPr>
          <p:spPr bwMode="auto">
            <a:xfrm flipH="1" flipV="1">
              <a:off x="5308685" y="2150010"/>
              <a:ext cx="2575858" cy="342315"/>
            </a:xfrm>
            <a:prstGeom prst="line">
              <a:avLst/>
            </a:prstGeom>
            <a:noFill/>
            <a:ln w="19050" cap="flat" cmpd="sng" algn="ctr">
              <a:solidFill>
                <a:srgbClr val="4D4D4D"/>
              </a:solidFill>
              <a:prstDash val="solid"/>
              <a:round/>
              <a:headEnd type="none" w="med" len="med"/>
              <a:tailEnd type="none" w="med" len="med"/>
            </a:ln>
            <a:effectLst/>
          </p:spPr>
        </p:cxnSp>
        <p:sp>
          <p:nvSpPr>
            <p:cNvPr id="1028" name="Rectangle 5"/>
            <p:cNvSpPr>
              <a:spLocks noChangeArrowheads="1"/>
            </p:cNvSpPr>
            <p:nvPr>
              <p:custDataLst>
                <p:tags r:id="rId30"/>
              </p:custDataLst>
            </p:nvPr>
          </p:nvSpPr>
          <p:spPr bwMode="gray">
            <a:xfrm rot="3359807">
              <a:off x="3647766" y="179338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Supplies</a:t>
              </a:r>
              <a:endParaRPr lang="en-US" sz="800" b="1" dirty="0">
                <a:solidFill>
                  <a:srgbClr val="59452A"/>
                </a:solidFill>
                <a:latin typeface="Gill Sans MT" pitchFamily="34" charset="0"/>
                <a:cs typeface="Arial" charset="0"/>
              </a:endParaRPr>
            </a:p>
          </p:txBody>
        </p:sp>
        <p:sp>
          <p:nvSpPr>
            <p:cNvPr id="1029" name="Rectangle 5"/>
            <p:cNvSpPr>
              <a:spLocks noChangeArrowheads="1"/>
            </p:cNvSpPr>
            <p:nvPr>
              <p:custDataLst>
                <p:tags r:id="rId31"/>
              </p:custDataLst>
            </p:nvPr>
          </p:nvSpPr>
          <p:spPr bwMode="gray">
            <a:xfrm rot="18240193" flipH="1">
              <a:off x="4880268" y="1757403"/>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Individual</a:t>
              </a:r>
              <a:endParaRPr lang="en-US" sz="800" b="1" dirty="0">
                <a:solidFill>
                  <a:srgbClr val="59452A"/>
                </a:solidFill>
                <a:latin typeface="Gill Sans MT" pitchFamily="34" charset="0"/>
                <a:cs typeface="Arial" charset="0"/>
              </a:endParaRPr>
            </a:p>
          </p:txBody>
        </p:sp>
        <p:sp>
          <p:nvSpPr>
            <p:cNvPr id="1030" name="Rectangle 5"/>
            <p:cNvSpPr>
              <a:spLocks noChangeArrowheads="1"/>
            </p:cNvSpPr>
            <p:nvPr>
              <p:custDataLst>
                <p:tags r:id="rId32"/>
              </p:custDataLst>
            </p:nvPr>
          </p:nvSpPr>
          <p:spPr bwMode="gray">
            <a:xfrm>
              <a:off x="4296093" y="2082195"/>
              <a:ext cx="91799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smtClean="0">
                  <a:solidFill>
                    <a:srgbClr val="59452A"/>
                  </a:solidFill>
                  <a:latin typeface="Gill Sans MT" pitchFamily="34" charset="0"/>
                  <a:cs typeface="Arial" charset="0"/>
                </a:rPr>
                <a:t>Health worker</a:t>
              </a:r>
              <a:endParaRPr lang="en-US" sz="800" b="1" dirty="0">
                <a:solidFill>
                  <a:srgbClr val="59452A"/>
                </a:solidFill>
                <a:latin typeface="Gill Sans MT" pitchFamily="34" charset="0"/>
                <a:cs typeface="Arial" charset="0"/>
              </a:endParaRPr>
            </a:p>
          </p:txBody>
        </p:sp>
        <p:cxnSp>
          <p:nvCxnSpPr>
            <p:cNvPr id="1031" name="Straight Connector 1030"/>
            <p:cNvCxnSpPr/>
            <p:nvPr>
              <p:custDataLst>
                <p:tags r:id="rId33"/>
              </p:custDataLst>
            </p:nvPr>
          </p:nvCxnSpPr>
          <p:spPr bwMode="auto">
            <a:xfrm flipV="1">
              <a:off x="1414450" y="1713993"/>
              <a:ext cx="1601619" cy="202225"/>
            </a:xfrm>
            <a:prstGeom prst="line">
              <a:avLst/>
            </a:prstGeom>
            <a:noFill/>
            <a:ln w="15875" cap="flat" cmpd="sng" algn="ctr">
              <a:solidFill>
                <a:srgbClr val="808080"/>
              </a:solidFill>
              <a:prstDash val="dash"/>
              <a:round/>
              <a:headEnd type="none" w="med" len="med"/>
              <a:tailEnd type="none" w="med" len="med"/>
            </a:ln>
            <a:effectLst/>
          </p:spPr>
        </p:cxnSp>
        <p:sp>
          <p:nvSpPr>
            <p:cNvPr id="1032" name="Rectangle 5"/>
            <p:cNvSpPr>
              <a:spLocks noChangeArrowheads="1"/>
            </p:cNvSpPr>
            <p:nvPr>
              <p:custDataLst>
                <p:tags r:id="rId34"/>
              </p:custDataLst>
            </p:nvPr>
          </p:nvSpPr>
          <p:spPr bwMode="gray">
            <a:xfrm>
              <a:off x="3095377" y="1381177"/>
              <a:ext cx="709881" cy="247064"/>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fficient supplies at health posts</a:t>
              </a:r>
              <a:endParaRPr lang="en-US" sz="900" dirty="0">
                <a:solidFill>
                  <a:srgbClr val="59452A"/>
                </a:solidFill>
                <a:latin typeface="Gill Sans MT" pitchFamily="34" charset="0"/>
                <a:cs typeface="Arial" charset="0"/>
              </a:endParaRPr>
            </a:p>
          </p:txBody>
        </p:sp>
        <p:sp>
          <p:nvSpPr>
            <p:cNvPr id="1033" name="Rectangle 5"/>
            <p:cNvSpPr>
              <a:spLocks noChangeArrowheads="1"/>
            </p:cNvSpPr>
            <p:nvPr>
              <p:custDataLst>
                <p:tags r:id="rId35"/>
              </p:custDataLst>
            </p:nvPr>
          </p:nvSpPr>
          <p:spPr bwMode="gray">
            <a:xfrm>
              <a:off x="5532814" y="1383611"/>
              <a:ext cx="848053"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Community engagement &amp; demand creation</a:t>
              </a:r>
              <a:endParaRPr lang="en-US" sz="800" dirty="0">
                <a:solidFill>
                  <a:srgbClr val="59452A"/>
                </a:solidFill>
                <a:latin typeface="Gill Sans MT" pitchFamily="34" charset="0"/>
                <a:cs typeface="Arial" charset="0"/>
              </a:endParaRPr>
            </a:p>
          </p:txBody>
        </p:sp>
        <p:cxnSp>
          <p:nvCxnSpPr>
            <p:cNvPr id="1034" name="Straight Connector 1033"/>
            <p:cNvCxnSpPr/>
            <p:nvPr>
              <p:custDataLst>
                <p:tags r:id="rId36"/>
              </p:custDataLst>
            </p:nvPr>
          </p:nvCxnSpPr>
          <p:spPr bwMode="auto">
            <a:xfrm flipH="1" flipV="1">
              <a:off x="4893137" y="2369990"/>
              <a:ext cx="767297" cy="3103387"/>
            </a:xfrm>
            <a:prstGeom prst="line">
              <a:avLst/>
            </a:prstGeom>
            <a:noFill/>
            <a:ln w="15875" cap="flat" cmpd="sng" algn="ctr">
              <a:solidFill>
                <a:srgbClr val="808080"/>
              </a:solidFill>
              <a:prstDash val="dash"/>
              <a:round/>
              <a:headEnd type="none" w="med" len="med"/>
              <a:tailEnd type="none" w="med" len="med"/>
            </a:ln>
            <a:effectLst/>
          </p:spPr>
        </p:cxnSp>
        <p:cxnSp>
          <p:nvCxnSpPr>
            <p:cNvPr id="1035" name="Straight Connector 1034"/>
            <p:cNvCxnSpPr/>
            <p:nvPr>
              <p:custDataLst>
                <p:tags r:id="rId37"/>
              </p:custDataLst>
            </p:nvPr>
          </p:nvCxnSpPr>
          <p:spPr bwMode="auto">
            <a:xfrm flipV="1">
              <a:off x="3644192" y="2369988"/>
              <a:ext cx="903331" cy="3103389"/>
            </a:xfrm>
            <a:prstGeom prst="line">
              <a:avLst/>
            </a:prstGeom>
            <a:noFill/>
            <a:ln w="15875" cap="flat" cmpd="sng" algn="ctr">
              <a:solidFill>
                <a:srgbClr val="808080"/>
              </a:solidFill>
              <a:prstDash val="dash"/>
              <a:round/>
              <a:headEnd type="none" w="med" len="med"/>
              <a:tailEnd type="none" w="med" len="med"/>
            </a:ln>
            <a:effectLst/>
          </p:spPr>
        </p:cxnSp>
        <p:sp>
          <p:nvSpPr>
            <p:cNvPr id="1036" name="Rectangle 5"/>
            <p:cNvSpPr>
              <a:spLocks noChangeArrowheads="1"/>
            </p:cNvSpPr>
            <p:nvPr>
              <p:custDataLst>
                <p:tags r:id="rId38"/>
              </p:custDataLst>
            </p:nvPr>
          </p:nvSpPr>
          <p:spPr bwMode="gray">
            <a:xfrm>
              <a:off x="4394603" y="2730866"/>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otivation</a:t>
              </a:r>
              <a:endParaRPr lang="en-US" sz="800" dirty="0">
                <a:solidFill>
                  <a:srgbClr val="59452A"/>
                </a:solidFill>
                <a:latin typeface="Gill Sans MT" pitchFamily="34" charset="0"/>
                <a:cs typeface="Arial" charset="0"/>
              </a:endParaRPr>
            </a:p>
          </p:txBody>
        </p:sp>
        <p:sp>
          <p:nvSpPr>
            <p:cNvPr id="1037" name="Rectangle 5"/>
            <p:cNvSpPr>
              <a:spLocks noChangeArrowheads="1"/>
            </p:cNvSpPr>
            <p:nvPr>
              <p:custDataLst>
                <p:tags r:id="rId39"/>
              </p:custDataLst>
            </p:nvPr>
          </p:nvSpPr>
          <p:spPr bwMode="gray">
            <a:xfrm>
              <a:off x="5140239" y="291799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Training &amp; mentorship</a:t>
              </a:r>
              <a:endParaRPr lang="en-US" sz="800" dirty="0">
                <a:solidFill>
                  <a:srgbClr val="59452A"/>
                </a:solidFill>
                <a:latin typeface="Gill Sans MT" pitchFamily="34" charset="0"/>
                <a:cs typeface="Arial" charset="0"/>
              </a:endParaRPr>
            </a:p>
          </p:txBody>
        </p:sp>
        <p:pic>
          <p:nvPicPr>
            <p:cNvPr id="1038" name="Picture 5"/>
            <p:cNvPicPr>
              <a:picLocks noChangeAspect="1" noChangeArrowheads="1"/>
            </p:cNvPicPr>
            <p:nvPr>
              <p:custDataLst>
                <p:tags r:id="rId40"/>
              </p:custDataLst>
            </p:nvPr>
          </p:nvPicPr>
          <p:blipFill>
            <a:blip r:embed="rId573" cstate="print">
              <a:biLevel thresh="75000"/>
              <a:lum bright="40000" contrast="-40000"/>
            </a:blip>
            <a:srcRect/>
            <a:stretch>
              <a:fillRect/>
            </a:stretch>
          </p:blipFill>
          <p:spPr bwMode="auto">
            <a:xfrm>
              <a:off x="5116186" y="2518423"/>
              <a:ext cx="99417" cy="287556"/>
            </a:xfrm>
            <a:prstGeom prst="rect">
              <a:avLst/>
            </a:prstGeom>
            <a:noFill/>
            <a:ln w="9525">
              <a:noFill/>
              <a:miter lim="800000"/>
              <a:headEnd/>
              <a:tailEnd/>
            </a:ln>
            <a:effectLst/>
          </p:spPr>
        </p:pic>
        <p:sp>
          <p:nvSpPr>
            <p:cNvPr id="1039" name="Rectangle 5"/>
            <p:cNvSpPr>
              <a:spLocks noChangeArrowheads="1"/>
            </p:cNvSpPr>
            <p:nvPr>
              <p:custDataLst>
                <p:tags r:id="rId41"/>
              </p:custDataLst>
            </p:nvPr>
          </p:nvSpPr>
          <p:spPr bwMode="gray">
            <a:xfrm>
              <a:off x="4263547" y="3812860"/>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motivation</a:t>
              </a:r>
              <a:endParaRPr lang="en-US" sz="800" dirty="0">
                <a:solidFill>
                  <a:srgbClr val="59452A"/>
                </a:solidFill>
                <a:latin typeface="Gill Sans MT" pitchFamily="34" charset="0"/>
                <a:cs typeface="Arial" charset="0"/>
              </a:endParaRPr>
            </a:p>
          </p:txBody>
        </p:sp>
        <p:cxnSp>
          <p:nvCxnSpPr>
            <p:cNvPr id="1040" name="Straight Connector 1039"/>
            <p:cNvCxnSpPr/>
            <p:nvPr>
              <p:custDataLst>
                <p:tags r:id="rId42"/>
              </p:custDataLst>
            </p:nvPr>
          </p:nvCxnSpPr>
          <p:spPr bwMode="auto">
            <a:xfrm flipV="1">
              <a:off x="1724025" y="2110188"/>
              <a:ext cx="2312037" cy="1747437"/>
            </a:xfrm>
            <a:prstGeom prst="line">
              <a:avLst/>
            </a:prstGeom>
            <a:noFill/>
            <a:ln w="15875" cap="flat" cmpd="sng" algn="ctr">
              <a:solidFill>
                <a:srgbClr val="808080"/>
              </a:solidFill>
              <a:prstDash val="dash"/>
              <a:round/>
              <a:headEnd type="none" w="med" len="med"/>
              <a:tailEnd type="none" w="med" len="med"/>
            </a:ln>
            <a:effectLst/>
          </p:spPr>
        </p:cxnSp>
        <p:sp>
          <p:nvSpPr>
            <p:cNvPr id="1041" name="Rectangle 5"/>
            <p:cNvSpPr>
              <a:spLocks noChangeArrowheads="1"/>
            </p:cNvSpPr>
            <p:nvPr>
              <p:custDataLst>
                <p:tags r:id="rId43"/>
              </p:custDataLst>
            </p:nvPr>
          </p:nvSpPr>
          <p:spPr bwMode="gray">
            <a:xfrm>
              <a:off x="2317573" y="1378288"/>
              <a:ext cx="669459"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Inventory management</a:t>
              </a:r>
              <a:endParaRPr lang="en-US" sz="800" dirty="0">
                <a:solidFill>
                  <a:srgbClr val="59452A"/>
                </a:solidFill>
                <a:latin typeface="Gill Sans MT" pitchFamily="34" charset="0"/>
                <a:cs typeface="Arial" charset="0"/>
              </a:endParaRPr>
            </a:p>
          </p:txBody>
        </p:sp>
        <p:sp>
          <p:nvSpPr>
            <p:cNvPr id="1042" name="Rectangle 5"/>
            <p:cNvSpPr>
              <a:spLocks noChangeArrowheads="1"/>
            </p:cNvSpPr>
            <p:nvPr>
              <p:custDataLst>
                <p:tags r:id="rId44"/>
              </p:custDataLst>
            </p:nvPr>
          </p:nvSpPr>
          <p:spPr bwMode="gray">
            <a:xfrm>
              <a:off x="1595867" y="144463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ply planning</a:t>
              </a:r>
              <a:endParaRPr lang="en-US" sz="800" dirty="0">
                <a:solidFill>
                  <a:srgbClr val="59452A"/>
                </a:solidFill>
                <a:latin typeface="Gill Sans MT" pitchFamily="34" charset="0"/>
                <a:cs typeface="Arial" charset="0"/>
              </a:endParaRPr>
            </a:p>
          </p:txBody>
        </p:sp>
        <p:sp>
          <p:nvSpPr>
            <p:cNvPr id="1043" name="Rectangle 5"/>
            <p:cNvSpPr>
              <a:spLocks noChangeArrowheads="1"/>
            </p:cNvSpPr>
            <p:nvPr>
              <p:custDataLst>
                <p:tags r:id="rId45"/>
              </p:custDataLst>
            </p:nvPr>
          </p:nvSpPr>
          <p:spPr bwMode="gray">
            <a:xfrm>
              <a:off x="2282700" y="1990724"/>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torage and distribution</a:t>
              </a:r>
              <a:endParaRPr lang="en-US" sz="800" dirty="0">
                <a:solidFill>
                  <a:srgbClr val="59452A"/>
                </a:solidFill>
                <a:latin typeface="Gill Sans MT" pitchFamily="34" charset="0"/>
                <a:cs typeface="Arial" charset="0"/>
              </a:endParaRPr>
            </a:p>
          </p:txBody>
        </p:sp>
        <p:grpSp>
          <p:nvGrpSpPr>
            <p:cNvPr id="44" name="Group 927"/>
            <p:cNvGrpSpPr/>
            <p:nvPr>
              <p:custDataLst>
                <p:tags r:id="rId46"/>
              </p:custDataLst>
            </p:nvPr>
          </p:nvGrpSpPr>
          <p:grpSpPr>
            <a:xfrm>
              <a:off x="2375776" y="2430017"/>
              <a:ext cx="532015" cy="444343"/>
              <a:chOff x="5085316" y="2082799"/>
              <a:chExt cx="777013" cy="639762"/>
            </a:xfrm>
          </p:grpSpPr>
          <p:sp>
            <p:nvSpPr>
              <p:cNvPr id="1125" name="Freeform 25"/>
              <p:cNvSpPr>
                <a:spLocks noChangeAspect="1"/>
              </p:cNvSpPr>
              <p:nvPr>
                <p:custDataLst>
                  <p:tags r:id="rId94"/>
                </p:custDataLst>
              </p:nvPr>
            </p:nvSpPr>
            <p:spPr bwMode="gray">
              <a:xfrm>
                <a:off x="5085316" y="2082799"/>
                <a:ext cx="777013" cy="639762"/>
              </a:xfrm>
              <a:custGeom>
                <a:avLst/>
                <a:gdLst>
                  <a:gd name="T0" fmla="*/ 35 w 594"/>
                  <a:gd name="T1" fmla="*/ 48 h 474"/>
                  <a:gd name="T2" fmla="*/ 65 w 594"/>
                  <a:gd name="T3" fmla="*/ 4 h 474"/>
                  <a:gd name="T4" fmla="*/ 99 w 594"/>
                  <a:gd name="T5" fmla="*/ 0 h 474"/>
                  <a:gd name="T6" fmla="*/ 143 w 594"/>
                  <a:gd name="T7" fmla="*/ 17 h 474"/>
                  <a:gd name="T8" fmla="*/ 178 w 594"/>
                  <a:gd name="T9" fmla="*/ 22 h 474"/>
                  <a:gd name="T10" fmla="*/ 208 w 594"/>
                  <a:gd name="T11" fmla="*/ 26 h 474"/>
                  <a:gd name="T12" fmla="*/ 239 w 594"/>
                  <a:gd name="T13" fmla="*/ 35 h 474"/>
                  <a:gd name="T14" fmla="*/ 269 w 594"/>
                  <a:gd name="T15" fmla="*/ 22 h 474"/>
                  <a:gd name="T16" fmla="*/ 321 w 594"/>
                  <a:gd name="T17" fmla="*/ 17 h 474"/>
                  <a:gd name="T18" fmla="*/ 338 w 594"/>
                  <a:gd name="T19" fmla="*/ 26 h 474"/>
                  <a:gd name="T20" fmla="*/ 355 w 594"/>
                  <a:gd name="T21" fmla="*/ 22 h 474"/>
                  <a:gd name="T22" fmla="*/ 369 w 594"/>
                  <a:gd name="T23" fmla="*/ 13 h 474"/>
                  <a:gd name="T24" fmla="*/ 373 w 594"/>
                  <a:gd name="T25" fmla="*/ 13 h 474"/>
                  <a:gd name="T26" fmla="*/ 386 w 594"/>
                  <a:gd name="T27" fmla="*/ 4 h 474"/>
                  <a:gd name="T28" fmla="*/ 412 w 594"/>
                  <a:gd name="T29" fmla="*/ 52 h 474"/>
                  <a:gd name="T30" fmla="*/ 429 w 594"/>
                  <a:gd name="T31" fmla="*/ 70 h 474"/>
                  <a:gd name="T32" fmla="*/ 425 w 594"/>
                  <a:gd name="T33" fmla="*/ 87 h 474"/>
                  <a:gd name="T34" fmla="*/ 403 w 594"/>
                  <a:gd name="T35" fmla="*/ 95 h 474"/>
                  <a:gd name="T36" fmla="*/ 390 w 594"/>
                  <a:gd name="T37" fmla="*/ 117 h 474"/>
                  <a:gd name="T38" fmla="*/ 377 w 594"/>
                  <a:gd name="T39" fmla="*/ 139 h 474"/>
                  <a:gd name="T40" fmla="*/ 377 w 594"/>
                  <a:gd name="T41" fmla="*/ 152 h 474"/>
                  <a:gd name="T42" fmla="*/ 364 w 594"/>
                  <a:gd name="T43" fmla="*/ 169 h 474"/>
                  <a:gd name="T44" fmla="*/ 355 w 594"/>
                  <a:gd name="T45" fmla="*/ 186 h 474"/>
                  <a:gd name="T46" fmla="*/ 343 w 594"/>
                  <a:gd name="T47" fmla="*/ 208 h 474"/>
                  <a:gd name="T48" fmla="*/ 334 w 594"/>
                  <a:gd name="T49" fmla="*/ 230 h 474"/>
                  <a:gd name="T50" fmla="*/ 321 w 594"/>
                  <a:gd name="T51" fmla="*/ 243 h 474"/>
                  <a:gd name="T52" fmla="*/ 316 w 594"/>
                  <a:gd name="T53" fmla="*/ 256 h 474"/>
                  <a:gd name="T54" fmla="*/ 308 w 594"/>
                  <a:gd name="T55" fmla="*/ 260 h 474"/>
                  <a:gd name="T56" fmla="*/ 291 w 594"/>
                  <a:gd name="T57" fmla="*/ 247 h 474"/>
                  <a:gd name="T58" fmla="*/ 277 w 594"/>
                  <a:gd name="T59" fmla="*/ 247 h 474"/>
                  <a:gd name="T60" fmla="*/ 256 w 594"/>
                  <a:gd name="T61" fmla="*/ 256 h 474"/>
                  <a:gd name="T62" fmla="*/ 252 w 594"/>
                  <a:gd name="T63" fmla="*/ 264 h 474"/>
                  <a:gd name="T64" fmla="*/ 239 w 594"/>
                  <a:gd name="T65" fmla="*/ 273 h 474"/>
                  <a:gd name="T66" fmla="*/ 221 w 594"/>
                  <a:gd name="T67" fmla="*/ 291 h 474"/>
                  <a:gd name="T68" fmla="*/ 217 w 594"/>
                  <a:gd name="T69" fmla="*/ 316 h 474"/>
                  <a:gd name="T70" fmla="*/ 204 w 594"/>
                  <a:gd name="T71" fmla="*/ 326 h 474"/>
                  <a:gd name="T72" fmla="*/ 200 w 594"/>
                  <a:gd name="T73" fmla="*/ 334 h 474"/>
                  <a:gd name="T74" fmla="*/ 173 w 594"/>
                  <a:gd name="T75" fmla="*/ 338 h 474"/>
                  <a:gd name="T76" fmla="*/ 152 w 594"/>
                  <a:gd name="T77" fmla="*/ 338 h 474"/>
                  <a:gd name="T78" fmla="*/ 134 w 594"/>
                  <a:gd name="T79" fmla="*/ 343 h 474"/>
                  <a:gd name="T80" fmla="*/ 109 w 594"/>
                  <a:gd name="T81" fmla="*/ 334 h 474"/>
                  <a:gd name="T82" fmla="*/ 95 w 594"/>
                  <a:gd name="T83" fmla="*/ 308 h 474"/>
                  <a:gd name="T84" fmla="*/ 87 w 594"/>
                  <a:gd name="T85" fmla="*/ 291 h 474"/>
                  <a:gd name="T86" fmla="*/ 56 w 594"/>
                  <a:gd name="T87" fmla="*/ 269 h 474"/>
                  <a:gd name="T88" fmla="*/ 26 w 594"/>
                  <a:gd name="T89" fmla="*/ 269 h 474"/>
                  <a:gd name="T90" fmla="*/ 0 w 594"/>
                  <a:gd name="T91" fmla="*/ 260 h 474"/>
                  <a:gd name="T92" fmla="*/ 4 w 594"/>
                  <a:gd name="T93" fmla="*/ 243 h 474"/>
                  <a:gd name="T94" fmla="*/ 0 w 594"/>
                  <a:gd name="T95" fmla="*/ 225 h 474"/>
                  <a:gd name="T96" fmla="*/ 0 w 594"/>
                  <a:gd name="T97" fmla="*/ 196 h 474"/>
                  <a:gd name="T98" fmla="*/ 4 w 594"/>
                  <a:gd name="T99" fmla="*/ 178 h 474"/>
                  <a:gd name="T100" fmla="*/ 13 w 594"/>
                  <a:gd name="T101" fmla="*/ 165 h 474"/>
                  <a:gd name="T102" fmla="*/ 26 w 594"/>
                  <a:gd name="T103" fmla="*/ 143 h 474"/>
                  <a:gd name="T104" fmla="*/ 31 w 594"/>
                  <a:gd name="T105" fmla="*/ 126 h 474"/>
                  <a:gd name="T106" fmla="*/ 39 w 594"/>
                  <a:gd name="T107" fmla="*/ 109 h 474"/>
                  <a:gd name="T108" fmla="*/ 31 w 594"/>
                  <a:gd name="T109" fmla="*/ 78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4"/>
                  <a:gd name="T166" fmla="*/ 0 h 474"/>
                  <a:gd name="T167" fmla="*/ 594 w 594"/>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E2E2E2"/>
              </a:solidFill>
              <a:ln w="9525">
                <a:solidFill>
                  <a:schemeClr val="bg2"/>
                </a:solidFill>
                <a:prstDash val="solid"/>
                <a:round/>
                <a:headEnd/>
                <a:tailEnd/>
              </a:ln>
            </p:spPr>
            <p:txBody>
              <a:bodyPr/>
              <a:lstStyle/>
              <a:p>
                <a:pPr algn="ctr" fontAlgn="base">
                  <a:spcBef>
                    <a:spcPct val="50000"/>
                  </a:spcBef>
                  <a:spcAft>
                    <a:spcPct val="0"/>
                  </a:spcAft>
                </a:pPr>
                <a:endParaRPr lang="en-US" sz="1600">
                  <a:solidFill>
                    <a:srgbClr val="59452A"/>
                  </a:solidFill>
                  <a:latin typeface="Gill Sans MT" pitchFamily="34" charset="0"/>
                  <a:cs typeface="Arial" charset="0"/>
                </a:endParaRPr>
              </a:p>
            </p:txBody>
          </p:sp>
          <p:pic>
            <p:nvPicPr>
              <p:cNvPr id="1126" name="Picture 3"/>
              <p:cNvPicPr>
                <a:picLocks noChangeAspect="1" noChangeArrowheads="1"/>
              </p:cNvPicPr>
              <p:nvPr/>
            </p:nvPicPr>
            <p:blipFill>
              <a:blip r:embed="rId574" cstate="print"/>
              <a:srcRect/>
              <a:stretch>
                <a:fillRect/>
              </a:stretch>
            </p:blipFill>
            <p:spPr bwMode="auto">
              <a:xfrm>
                <a:off x="5204716" y="2363081"/>
                <a:ext cx="238166" cy="211562"/>
              </a:xfrm>
              <a:prstGeom prst="rect">
                <a:avLst/>
              </a:prstGeom>
              <a:noFill/>
              <a:ln w="9525" algn="ctr">
                <a:solidFill>
                  <a:srgbClr val="B2B2B2"/>
                </a:solidFill>
                <a:miter lim="800000"/>
                <a:headEnd type="none" w="lg" len="lg"/>
                <a:tailEnd type="none" w="lg" len="lg"/>
              </a:ln>
              <a:effectLst/>
            </p:spPr>
          </p:pic>
          <p:pic>
            <p:nvPicPr>
              <p:cNvPr id="1127" name="Picture 3"/>
              <p:cNvPicPr>
                <a:picLocks noChangeAspect="1" noChangeArrowheads="1"/>
              </p:cNvPicPr>
              <p:nvPr/>
            </p:nvPicPr>
            <p:blipFill>
              <a:blip r:embed="rId574" cstate="print"/>
              <a:srcRect/>
              <a:stretch>
                <a:fillRect/>
              </a:stretch>
            </p:blipFill>
            <p:spPr bwMode="auto">
              <a:xfrm>
                <a:off x="5266603" y="2153916"/>
                <a:ext cx="156297" cy="138838"/>
              </a:xfrm>
              <a:prstGeom prst="rect">
                <a:avLst/>
              </a:prstGeom>
              <a:noFill/>
              <a:ln w="9525" algn="ctr">
                <a:solidFill>
                  <a:srgbClr val="B2B2B2"/>
                </a:solidFill>
                <a:miter lim="800000"/>
                <a:headEnd type="none" w="lg" len="lg"/>
                <a:tailEnd type="none" w="lg" len="lg"/>
              </a:ln>
              <a:effectLst/>
            </p:spPr>
          </p:pic>
          <p:pic>
            <p:nvPicPr>
              <p:cNvPr id="1128" name="Picture 3"/>
              <p:cNvPicPr>
                <a:picLocks noChangeAspect="1" noChangeArrowheads="1"/>
              </p:cNvPicPr>
              <p:nvPr/>
            </p:nvPicPr>
            <p:blipFill>
              <a:blip r:embed="rId574" cstate="print"/>
              <a:srcRect/>
              <a:stretch>
                <a:fillRect/>
              </a:stretch>
            </p:blipFill>
            <p:spPr bwMode="auto">
              <a:xfrm>
                <a:off x="5549900" y="2293662"/>
                <a:ext cx="156297" cy="138838"/>
              </a:xfrm>
              <a:prstGeom prst="rect">
                <a:avLst/>
              </a:prstGeom>
              <a:noFill/>
              <a:ln w="9525" algn="ctr">
                <a:solidFill>
                  <a:srgbClr val="B2B2B2"/>
                </a:solidFill>
                <a:miter lim="800000"/>
                <a:headEnd type="none" w="lg" len="lg"/>
                <a:tailEnd type="none" w="lg" len="lg"/>
              </a:ln>
              <a:effectLst/>
            </p:spPr>
          </p:pic>
        </p:grpSp>
        <p:sp>
          <p:nvSpPr>
            <p:cNvPr id="1045" name="Rectangle 5"/>
            <p:cNvSpPr>
              <a:spLocks noChangeArrowheads="1"/>
            </p:cNvSpPr>
            <p:nvPr>
              <p:custDataLst>
                <p:tags r:id="rId47"/>
              </p:custDataLst>
            </p:nvPr>
          </p:nvSpPr>
          <p:spPr bwMode="gray">
            <a:xfrm>
              <a:off x="1509701" y="2719838"/>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Procurement &amp; distribution</a:t>
              </a:r>
              <a:endParaRPr lang="en-US" sz="800" dirty="0">
                <a:solidFill>
                  <a:srgbClr val="59452A"/>
                </a:solidFill>
                <a:latin typeface="Gill Sans MT" pitchFamily="34" charset="0"/>
                <a:cs typeface="Arial" charset="0"/>
              </a:endParaRPr>
            </a:p>
          </p:txBody>
        </p:sp>
        <p:sp>
          <p:nvSpPr>
            <p:cNvPr id="1046" name="Rectangle 5"/>
            <p:cNvSpPr>
              <a:spLocks noChangeArrowheads="1"/>
            </p:cNvSpPr>
            <p:nvPr>
              <p:custDataLst>
                <p:tags r:id="rId48"/>
              </p:custDataLst>
            </p:nvPr>
          </p:nvSpPr>
          <p:spPr bwMode="gray">
            <a:xfrm>
              <a:off x="1436869" y="1947632"/>
              <a:ext cx="749521"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Manufacturing</a:t>
              </a:r>
              <a:endParaRPr lang="en-US" sz="800" dirty="0">
                <a:solidFill>
                  <a:srgbClr val="59452A"/>
                </a:solidFill>
                <a:latin typeface="Gill Sans MT" pitchFamily="34" charset="0"/>
                <a:cs typeface="Arial" charset="0"/>
              </a:endParaRPr>
            </a:p>
          </p:txBody>
        </p:sp>
        <p:sp>
          <p:nvSpPr>
            <p:cNvPr id="1047" name="Rectangle 5"/>
            <p:cNvSpPr>
              <a:spLocks noChangeArrowheads="1"/>
            </p:cNvSpPr>
            <p:nvPr>
              <p:custDataLst>
                <p:tags r:id="rId49"/>
              </p:custDataLst>
            </p:nvPr>
          </p:nvSpPr>
          <p:spPr bwMode="gray">
            <a:xfrm>
              <a:off x="2447104" y="4405509"/>
              <a:ext cx="835309" cy="177770"/>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indicators</a:t>
              </a:r>
              <a:endParaRPr lang="en-US" sz="800" dirty="0">
                <a:solidFill>
                  <a:srgbClr val="59452A"/>
                </a:solidFill>
                <a:latin typeface="Gill Sans MT" pitchFamily="34" charset="0"/>
                <a:cs typeface="Arial" charset="0"/>
              </a:endParaRPr>
            </a:p>
          </p:txBody>
        </p:sp>
        <p:sp>
          <p:nvSpPr>
            <p:cNvPr id="1048" name="Rectangle 5"/>
            <p:cNvSpPr>
              <a:spLocks noChangeArrowheads="1"/>
            </p:cNvSpPr>
            <p:nvPr>
              <p:custDataLst>
                <p:tags r:id="rId50"/>
              </p:custDataLst>
            </p:nvPr>
          </p:nvSpPr>
          <p:spPr bwMode="gray">
            <a:xfrm>
              <a:off x="3220362" y="3529229"/>
              <a:ext cx="796460" cy="26709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Data to guide national decision making</a:t>
              </a:r>
            </a:p>
          </p:txBody>
        </p:sp>
        <p:pic>
          <p:nvPicPr>
            <p:cNvPr id="1049" name="Picture 21"/>
            <p:cNvPicPr>
              <a:picLocks noChangeAspect="1" noChangeArrowheads="1"/>
            </p:cNvPicPr>
            <p:nvPr>
              <p:custDataLst>
                <p:tags r:id="rId51"/>
              </p:custDataLst>
            </p:nvPr>
          </p:nvPicPr>
          <p:blipFill>
            <a:blip r:embed="rId575" cstate="print">
              <a:duotone>
                <a:schemeClr val="accent4">
                  <a:shade val="45000"/>
                  <a:satMod val="135000"/>
                </a:schemeClr>
                <a:prstClr val="white"/>
              </a:duotone>
              <a:lum contrast="-20000"/>
            </a:blip>
            <a:srcRect/>
            <a:stretch>
              <a:fillRect/>
            </a:stretch>
          </p:blipFill>
          <p:spPr bwMode="auto">
            <a:xfrm>
              <a:off x="3145357" y="1776026"/>
              <a:ext cx="319344" cy="215596"/>
            </a:xfrm>
            <a:prstGeom prst="rect">
              <a:avLst/>
            </a:prstGeom>
            <a:noFill/>
            <a:ln w="9525" algn="ctr">
              <a:noFill/>
              <a:miter lim="800000"/>
              <a:headEnd type="none" w="lg" len="lg"/>
              <a:tailEnd type="none" w="lg" len="lg"/>
            </a:ln>
            <a:effectLst/>
          </p:spPr>
        </p:pic>
        <p:sp>
          <p:nvSpPr>
            <p:cNvPr id="1050" name="Rectangle 5"/>
            <p:cNvSpPr>
              <a:spLocks noChangeArrowheads="1"/>
            </p:cNvSpPr>
            <p:nvPr>
              <p:custDataLst>
                <p:tags r:id="rId52"/>
              </p:custDataLst>
            </p:nvPr>
          </p:nvSpPr>
          <p:spPr bwMode="gray">
            <a:xfrm>
              <a:off x="5353662" y="3450251"/>
              <a:ext cx="1057407"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training / professional programs and supervision</a:t>
              </a:r>
              <a:endParaRPr lang="en-US" sz="800" dirty="0">
                <a:solidFill>
                  <a:srgbClr val="59452A"/>
                </a:solidFill>
                <a:latin typeface="Gill Sans MT" pitchFamily="34" charset="0"/>
                <a:cs typeface="Arial" charset="0"/>
              </a:endParaRPr>
            </a:p>
          </p:txBody>
        </p:sp>
        <p:pic>
          <p:nvPicPr>
            <p:cNvPr id="1051" name="Picture 5"/>
            <p:cNvPicPr>
              <a:picLocks noChangeAspect="1" noChangeArrowheads="1"/>
            </p:cNvPicPr>
            <p:nvPr>
              <p:custDataLst>
                <p:tags r:id="rId53"/>
              </p:custDataLst>
            </p:nvPr>
          </p:nvPicPr>
          <p:blipFill>
            <a:blip r:embed="rId576" cstate="print">
              <a:duotone>
                <a:schemeClr val="accent4">
                  <a:shade val="45000"/>
                  <a:satMod val="135000"/>
                </a:schemeClr>
                <a:prstClr val="white"/>
              </a:duotone>
              <a:lum bright="-20000" contrast="40000"/>
            </a:blip>
            <a:srcRect/>
            <a:stretch>
              <a:fillRect/>
            </a:stretch>
          </p:blipFill>
          <p:spPr bwMode="auto">
            <a:xfrm>
              <a:off x="5772780" y="4958830"/>
              <a:ext cx="219170" cy="237434"/>
            </a:xfrm>
            <a:prstGeom prst="rect">
              <a:avLst/>
            </a:prstGeom>
            <a:noFill/>
            <a:ln w="9525" algn="ctr">
              <a:noFill/>
              <a:miter lim="800000"/>
              <a:headEnd type="none" w="lg" len="lg"/>
              <a:tailEnd type="none" w="lg" len="lg"/>
            </a:ln>
            <a:effectLst/>
          </p:spPr>
        </p:pic>
        <p:cxnSp>
          <p:nvCxnSpPr>
            <p:cNvPr id="1052" name="Straight Connector 1051"/>
            <p:cNvCxnSpPr/>
            <p:nvPr>
              <p:custDataLst>
                <p:tags r:id="rId54"/>
              </p:custDataLst>
            </p:nvPr>
          </p:nvCxnSpPr>
          <p:spPr bwMode="auto">
            <a:xfrm flipH="1" flipV="1">
              <a:off x="5214090" y="2280013"/>
              <a:ext cx="2089768" cy="1950143"/>
            </a:xfrm>
            <a:prstGeom prst="line">
              <a:avLst/>
            </a:prstGeom>
            <a:noFill/>
            <a:ln w="15875" cap="flat" cmpd="sng" algn="ctr">
              <a:solidFill>
                <a:srgbClr val="808080"/>
              </a:solidFill>
              <a:prstDash val="dash"/>
              <a:round/>
              <a:headEnd type="none" w="med" len="med"/>
              <a:tailEnd type="none" w="med" len="med"/>
            </a:ln>
            <a:effectLst/>
          </p:spPr>
        </p:cxnSp>
        <p:sp>
          <p:nvSpPr>
            <p:cNvPr id="1053" name="Rectangle 5"/>
            <p:cNvSpPr>
              <a:spLocks noChangeArrowheads="1"/>
            </p:cNvSpPr>
            <p:nvPr>
              <p:custDataLst>
                <p:tags r:id="rId55"/>
              </p:custDataLst>
            </p:nvPr>
          </p:nvSpPr>
          <p:spPr bwMode="gray">
            <a:xfrm>
              <a:off x="5456819" y="2335037"/>
              <a:ext cx="579442" cy="178455"/>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Supervisors &amp; FLWs</a:t>
              </a:r>
              <a:endParaRPr lang="en-US" sz="800" dirty="0">
                <a:solidFill>
                  <a:srgbClr val="59452A"/>
                </a:solidFill>
                <a:latin typeface="Gill Sans MT" pitchFamily="34" charset="0"/>
                <a:cs typeface="Arial" charset="0"/>
              </a:endParaRPr>
            </a:p>
          </p:txBody>
        </p:sp>
        <p:sp>
          <p:nvSpPr>
            <p:cNvPr id="1054" name="Rectangle 5"/>
            <p:cNvSpPr>
              <a:spLocks noChangeArrowheads="1"/>
            </p:cNvSpPr>
            <p:nvPr>
              <p:custDataLst>
                <p:tags r:id="rId56"/>
              </p:custDataLst>
            </p:nvPr>
          </p:nvSpPr>
          <p:spPr bwMode="gray">
            <a:xfrm>
              <a:off x="6413438" y="2747939"/>
              <a:ext cx="657224"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National &amp; sub-national program managers</a:t>
              </a:r>
              <a:endParaRPr lang="en-US" sz="800" dirty="0">
                <a:solidFill>
                  <a:srgbClr val="59452A"/>
                </a:solidFill>
                <a:latin typeface="Gill Sans MT" pitchFamily="34" charset="0"/>
                <a:cs typeface="Arial" charset="0"/>
              </a:endParaRPr>
            </a:p>
          </p:txBody>
        </p:sp>
        <p:grpSp>
          <p:nvGrpSpPr>
            <p:cNvPr id="45" name="Group 435"/>
            <p:cNvGrpSpPr/>
            <p:nvPr>
              <p:custDataLst>
                <p:tags r:id="rId57"/>
              </p:custDataLst>
            </p:nvPr>
          </p:nvGrpSpPr>
          <p:grpSpPr>
            <a:xfrm>
              <a:off x="5851932" y="2523591"/>
              <a:ext cx="249647" cy="251917"/>
              <a:chOff x="7230319" y="326252"/>
              <a:chExt cx="506784" cy="510648"/>
            </a:xfrm>
          </p:grpSpPr>
          <p:pic>
            <p:nvPicPr>
              <p:cNvPr id="1119" name="Picture 5"/>
              <p:cNvPicPr>
                <a:picLocks noChangeAspect="1" noChangeArrowheads="1"/>
              </p:cNvPicPr>
              <p:nvPr>
                <p:custDataLst>
                  <p:tags r:id="rId88"/>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1120" name="Picture 17"/>
              <p:cNvPicPr>
                <a:picLocks noChangeAspect="1" noChangeArrowheads="1"/>
              </p:cNvPicPr>
              <p:nvPr>
                <p:custDataLst>
                  <p:tags r:id="rId89"/>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1121" name="Picture 17"/>
              <p:cNvPicPr>
                <a:picLocks noChangeAspect="1" noChangeArrowheads="1"/>
              </p:cNvPicPr>
              <p:nvPr>
                <p:custDataLst>
                  <p:tags r:id="rId90"/>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1122" name="Picture 5"/>
              <p:cNvPicPr>
                <a:picLocks noChangeAspect="1" noChangeArrowheads="1"/>
              </p:cNvPicPr>
              <p:nvPr>
                <p:custDataLst>
                  <p:tags r:id="rId91"/>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1123" name="Picture 17"/>
              <p:cNvPicPr>
                <a:picLocks noChangeAspect="1" noChangeArrowheads="1"/>
              </p:cNvPicPr>
              <p:nvPr>
                <p:custDataLst>
                  <p:tags r:id="rId92"/>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1124" name="Picture 5"/>
              <p:cNvPicPr>
                <a:picLocks noChangeAspect="1" noChangeArrowheads="1"/>
              </p:cNvPicPr>
              <p:nvPr>
                <p:custDataLst>
                  <p:tags r:id="rId93"/>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1056" name="Rectangle 5"/>
            <p:cNvSpPr>
              <a:spLocks noChangeArrowheads="1"/>
            </p:cNvSpPr>
            <p:nvPr>
              <p:custDataLst>
                <p:tags r:id="rId58"/>
              </p:custDataLst>
            </p:nvPr>
          </p:nvSpPr>
          <p:spPr bwMode="gray">
            <a:xfrm>
              <a:off x="5870586" y="4494394"/>
              <a:ext cx="925252" cy="252842"/>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smtClean="0">
                  <a:solidFill>
                    <a:srgbClr val="59452A"/>
                  </a:solidFill>
                  <a:latin typeface="Gill Sans MT" pitchFamily="34" charset="0"/>
                  <a:cs typeface="Arial" charset="0"/>
                </a:rPr>
                <a:t>Global guidelines</a:t>
              </a:r>
              <a:endParaRPr lang="en-US" sz="800" dirty="0">
                <a:solidFill>
                  <a:srgbClr val="59452A"/>
                </a:solidFill>
                <a:latin typeface="Gill Sans MT" pitchFamily="34" charset="0"/>
                <a:cs typeface="Arial" charset="0"/>
              </a:endParaRPr>
            </a:p>
          </p:txBody>
        </p:sp>
        <p:pic>
          <p:nvPicPr>
            <p:cNvPr id="1057" name="Picture 7" descr="C:\Users\mattha\AppData\Local\Microsoft\Windows\Temporary Internet Files\Content.IE5\A0YJT0Y2\MC900368410[1].wmf"/>
            <p:cNvPicPr>
              <a:picLocks noChangeAspect="1" noChangeArrowheads="1"/>
            </p:cNvPicPr>
            <p:nvPr>
              <p:custDataLst>
                <p:tags r:id="rId59"/>
              </p:custDataLst>
            </p:nvPr>
          </p:nvPicPr>
          <p:blipFill>
            <a:blip r:embed="rId578" cstate="print">
              <a:grayscl/>
              <a:lum contrast="-40000"/>
              <a:extLst>
                <a:ext uri="{28A0092B-C50C-407E-A947-70E740481C1C}">
                  <a14:useLocalDpi xmlns:a14="http://schemas.microsoft.com/office/drawing/2010/main" val="0"/>
                </a:ext>
              </a:extLst>
            </a:blip>
            <a:srcRect/>
            <a:stretch>
              <a:fillRect/>
            </a:stretch>
          </p:blipFill>
          <p:spPr bwMode="auto">
            <a:xfrm>
              <a:off x="1632905" y="3004845"/>
              <a:ext cx="505903" cy="361736"/>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9" descr="C:\Users\mattha\AppData\Local\Microsoft\Windows\Temporary Internet Files\Content.IE5\WZUD8JML\MC900286861[1].wmf"/>
            <p:cNvPicPr>
              <a:picLocks noChangeAspect="1" noChangeArrowheads="1"/>
            </p:cNvPicPr>
            <p:nvPr>
              <p:custDataLst>
                <p:tags r:id="rId60"/>
              </p:custDataLst>
            </p:nvPr>
          </p:nvPicPr>
          <p:blipFill>
            <a:blip r:embed="rId579" cstate="print">
              <a:duotone>
                <a:prstClr val="black"/>
                <a:schemeClr val="accent5">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4106763" y="1571055"/>
              <a:ext cx="387913" cy="313111"/>
            </a:xfrm>
            <a:prstGeom prst="rect">
              <a:avLst/>
            </a:prstGeom>
            <a:noFill/>
            <a:extLst>
              <a:ext uri="{909E8E84-426E-40DD-AFC4-6F175D3DCCD1}">
                <a14:hiddenFill xmlns:a14="http://schemas.microsoft.com/office/drawing/2010/main">
                  <a:solidFill>
                    <a:srgbClr val="FFFFFF"/>
                  </a:solidFill>
                </a14:hiddenFill>
              </a:ext>
            </a:extLst>
          </p:spPr>
        </p:pic>
        <p:pic>
          <p:nvPicPr>
            <p:cNvPr id="1059" name="Picture 15" descr="C:\Users\mattha\AppData\Local\Microsoft\Windows\Temporary Internet Files\Content.IE5\6RMOFZA8\MC900434820[1].png"/>
            <p:cNvPicPr>
              <a:picLocks noChangeAspect="1" noChangeArrowheads="1"/>
            </p:cNvPicPr>
            <p:nvPr>
              <p:custDataLst>
                <p:tags r:id="rId61"/>
              </p:custDataLst>
            </p:nvPr>
          </p:nvPicPr>
          <p:blipFill>
            <a:blip r:embed="rId580" cstate="print">
              <a:duotone>
                <a:schemeClr val="accent4">
                  <a:shade val="45000"/>
                  <a:satMod val="135000"/>
                </a:schemeClr>
                <a:prstClr val="white"/>
              </a:duotone>
              <a:extLst>
                <a:ext uri="{BEBA8EAE-BF5A-486C-A8C5-ECC9F3942E4B}">
                  <a14:imgProps xmlns:a14="http://schemas.microsoft.com/office/drawing/2010/main">
                    <a14:imgLayer r:embed="rId581">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501227" y="1778819"/>
              <a:ext cx="374234" cy="374234"/>
            </a:xfrm>
            <a:prstGeom prst="rect">
              <a:avLst/>
            </a:prstGeom>
            <a:noFill/>
            <a:extLst>
              <a:ext uri="{909E8E84-426E-40DD-AFC4-6F175D3DCCD1}">
                <a14:hiddenFill xmlns:a14="http://schemas.microsoft.com/office/drawing/2010/main">
                  <a:solidFill>
                    <a:srgbClr val="FFFFFF"/>
                  </a:solidFill>
                </a14:hiddenFill>
              </a:ext>
            </a:extLst>
          </p:spPr>
        </p:pic>
        <p:sp>
          <p:nvSpPr>
            <p:cNvPr id="1060" name="Rectangle 5"/>
            <p:cNvSpPr>
              <a:spLocks noChangeArrowheads="1"/>
            </p:cNvSpPr>
            <p:nvPr>
              <p:custDataLst>
                <p:tags r:id="rId62"/>
              </p:custDataLst>
            </p:nvPr>
          </p:nvSpPr>
          <p:spPr bwMode="gray">
            <a:xfrm>
              <a:off x="3628003" y="2934793"/>
              <a:ext cx="737014" cy="239563"/>
            </a:xfrm>
            <a:prstGeom prst="rect">
              <a:avLst/>
            </a:prstGeom>
            <a:noFill/>
            <a:ln w="9525" algn="ctr">
              <a:no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dirty="0">
                  <a:solidFill>
                    <a:srgbClr val="59452A"/>
                  </a:solidFill>
                  <a:latin typeface="Gill Sans MT" pitchFamily="34" charset="0"/>
                  <a:cs typeface="Arial" charset="0"/>
                </a:rPr>
                <a:t>C</a:t>
              </a:r>
              <a:r>
                <a:rPr lang="en-US" sz="900" dirty="0" smtClean="0">
                  <a:solidFill>
                    <a:srgbClr val="59452A"/>
                  </a:solidFill>
                  <a:latin typeface="Gill Sans MT" pitchFamily="34" charset="0"/>
                  <a:cs typeface="Arial" charset="0"/>
                </a:rPr>
                <a:t>ollection &amp; use of data</a:t>
              </a:r>
              <a:endParaRPr lang="en-US" sz="800" dirty="0">
                <a:solidFill>
                  <a:srgbClr val="59452A"/>
                </a:solidFill>
                <a:latin typeface="Gill Sans MT" pitchFamily="34" charset="0"/>
                <a:cs typeface="Arial" charset="0"/>
              </a:endParaRPr>
            </a:p>
          </p:txBody>
        </p:sp>
        <p:pic>
          <p:nvPicPr>
            <p:cNvPr id="1061" name="Picture 27" descr="C:\Users\mattha\AppData\Local\Microsoft\Windows\Temporary Internet Files\Content.IE5\DT8ZIQ2F\MC900434829[1].png"/>
            <p:cNvPicPr>
              <a:picLocks noChangeAspect="1" noChangeArrowheads="1"/>
            </p:cNvPicPr>
            <p:nvPr>
              <p:custDataLst>
                <p:tags r:id="rId63"/>
              </p:custDataLst>
            </p:nvPr>
          </p:nvPicPr>
          <p:blipFill>
            <a:blip r:embed="rId582" cstate="print">
              <a:extLst>
                <a:ext uri="{BEBA8EAE-BF5A-486C-A8C5-ECC9F3942E4B}">
                  <a14:imgProps xmlns:a14="http://schemas.microsoft.com/office/drawing/2010/main">
                    <a14:imgLayer r:embed="rId58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467507" y="3939281"/>
              <a:ext cx="353370" cy="353370"/>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5" descr="C:\Users\mattha\AppData\Local\Microsoft\Windows\Temporary Internet Files\Content.IE5\GIPOTG0L\MC900389208[1].wmf"/>
            <p:cNvPicPr>
              <a:picLocks noChangeAspect="1" noChangeArrowheads="1"/>
            </p:cNvPicPr>
            <p:nvPr>
              <p:custDataLst>
                <p:tags r:id="rId64"/>
              </p:custDataLst>
            </p:nvPr>
          </p:nvPicPr>
          <p:blipFill>
            <a:blip r:embed="rId584"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573760" y="2993154"/>
              <a:ext cx="262043" cy="401018"/>
            </a:xfrm>
            <a:prstGeom prst="rect">
              <a:avLst/>
            </a:prstGeom>
            <a:noFill/>
            <a:extLst>
              <a:ext uri="{909E8E84-426E-40DD-AFC4-6F175D3DCCD1}">
                <a14:hiddenFill xmlns:a14="http://schemas.microsoft.com/office/drawing/2010/main">
                  <a:solidFill>
                    <a:srgbClr val="FFFFFF"/>
                  </a:solidFill>
                </a14:hiddenFill>
              </a:ext>
            </a:extLst>
          </p:spPr>
        </p:pic>
        <p:pic>
          <p:nvPicPr>
            <p:cNvPr id="1063" name="Picture 5"/>
            <p:cNvPicPr>
              <a:picLocks noChangeAspect="1" noChangeArrowheads="1"/>
            </p:cNvPicPr>
            <p:nvPr>
              <p:custDataLst>
                <p:tags r:id="rId65"/>
              </p:custDataLst>
            </p:nvPr>
          </p:nvPicPr>
          <p:blipFill>
            <a:blip r:embed="rId573" cstate="print">
              <a:duotone>
                <a:schemeClr val="accent4">
                  <a:shade val="45000"/>
                  <a:satMod val="135000"/>
                </a:schemeClr>
                <a:prstClr val="white"/>
              </a:duotone>
              <a:lum bright="-20000" contrast="40000"/>
            </a:blip>
            <a:srcRect/>
            <a:stretch>
              <a:fillRect/>
            </a:stretch>
          </p:blipFill>
          <p:spPr bwMode="auto">
            <a:xfrm>
              <a:off x="4664674" y="1566974"/>
              <a:ext cx="171129" cy="494978"/>
            </a:xfrm>
            <a:prstGeom prst="rect">
              <a:avLst/>
            </a:prstGeom>
            <a:noFill/>
            <a:ln w="9525">
              <a:noFill/>
              <a:miter lim="800000"/>
              <a:headEnd/>
              <a:tailEnd/>
            </a:ln>
            <a:effectLst/>
          </p:spPr>
        </p:pic>
        <p:pic>
          <p:nvPicPr>
            <p:cNvPr id="1064" name="Picture 48" descr="C:\Users\mattha\AppData\Local\Microsoft\Windows\Temporary Internet Files\Content.IE5\2H1X03YN\MC900431595[1].png"/>
            <p:cNvPicPr>
              <a:picLocks noChangeAspect="1" noChangeArrowheads="1"/>
            </p:cNvPicPr>
            <p:nvPr>
              <p:custDataLst>
                <p:tags r:id="rId66"/>
              </p:custDataLst>
            </p:nvPr>
          </p:nvPicPr>
          <p:blipFill>
            <a:blip r:embed="rId585" cstate="print">
              <a:duotone>
                <a:prstClr val="black"/>
                <a:schemeClr val="accent4">
                  <a:tint val="45000"/>
                  <a:satMod val="400000"/>
                </a:schemeClr>
              </a:duotone>
              <a:extLst>
                <a:ext uri="{BEBA8EAE-BF5A-486C-A8C5-ECC9F3942E4B}">
                  <a14:imgProps xmlns:a14="http://schemas.microsoft.com/office/drawing/2010/main">
                    <a14:imgLayer r:embed="rId58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627289" y="4022811"/>
              <a:ext cx="337097" cy="337097"/>
            </a:xfrm>
            <a:prstGeom prst="rect">
              <a:avLst/>
            </a:prstGeom>
            <a:noFill/>
            <a:extLst>
              <a:ext uri="{909E8E84-426E-40DD-AFC4-6F175D3DCCD1}">
                <a14:hiddenFill xmlns:a14="http://schemas.microsoft.com/office/drawing/2010/main">
                  <a:solidFill>
                    <a:srgbClr val="FFFFFF"/>
                  </a:solidFill>
                </a14:hiddenFill>
              </a:ext>
            </a:extLst>
          </p:spPr>
        </p:pic>
        <p:pic>
          <p:nvPicPr>
            <p:cNvPr id="1065" name="Picture 50" descr="C:\Users\mattha\AppData\Local\Microsoft\Windows\Temporary Internet Files\Content.IE5\DT8ZIQ2F\MC900389384[1].wmf"/>
            <p:cNvPicPr>
              <a:picLocks noChangeAspect="1" noChangeArrowheads="1"/>
            </p:cNvPicPr>
            <p:nvPr>
              <p:custDataLst>
                <p:tags r:id="rId67"/>
              </p:custDataLst>
            </p:nvPr>
          </p:nvPicPr>
          <p:blipFill>
            <a:blip r:embed="rId58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7800" y="3812860"/>
              <a:ext cx="263906" cy="345391"/>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53" descr="C:\Users\mattha\AppData\Local\Microsoft\Windows\Temporary Internet Files\Content.IE5\GIPOTG0L\MC900039023[1].wmf"/>
            <p:cNvPicPr>
              <a:picLocks noChangeAspect="1" noChangeArrowheads="1"/>
            </p:cNvPicPr>
            <p:nvPr>
              <p:custDataLst>
                <p:tags r:id="rId68"/>
              </p:custDataLst>
            </p:nvPr>
          </p:nvPicPr>
          <p:blipFill>
            <a:blip r:embed="rId588" cstate="print">
              <a:duotone>
                <a:schemeClr val="accent5">
                  <a:shade val="45000"/>
                  <a:satMod val="135000"/>
                </a:schemeClr>
                <a:prstClr val="white"/>
              </a:duotone>
              <a:lum contrast="-40000"/>
              <a:extLst>
                <a:ext uri="{28A0092B-C50C-407E-A947-70E740481C1C}">
                  <a14:useLocalDpi xmlns:a14="http://schemas.microsoft.com/office/drawing/2010/main" val="0"/>
                </a:ext>
              </a:extLst>
            </a:blip>
            <a:srcRect/>
            <a:stretch>
              <a:fillRect/>
            </a:stretch>
          </p:blipFill>
          <p:spPr bwMode="auto">
            <a:xfrm>
              <a:off x="4036062" y="2518423"/>
              <a:ext cx="325513" cy="332804"/>
            </a:xfrm>
            <a:prstGeom prst="rect">
              <a:avLst/>
            </a:prstGeom>
            <a:noFill/>
            <a:extLst>
              <a:ext uri="{909E8E84-426E-40DD-AFC4-6F175D3DCCD1}">
                <a14:hiddenFill xmlns:a14="http://schemas.microsoft.com/office/drawing/2010/main">
                  <a:solidFill>
                    <a:srgbClr val="FFFFFF"/>
                  </a:solidFill>
                </a14:hiddenFill>
              </a:ext>
            </a:extLst>
          </p:spPr>
        </p:pic>
        <p:pic>
          <p:nvPicPr>
            <p:cNvPr id="1067" name="Picture 54" descr="C:\Users\mattha\AppData\Local\Microsoft\Windows\Temporary Internet Files\Content.IE5\GIPOTG0L\MC900431584[1].png"/>
            <p:cNvPicPr>
              <a:picLocks noChangeAspect="1" noChangeArrowheads="1"/>
            </p:cNvPicPr>
            <p:nvPr>
              <p:custDataLst>
                <p:tags r:id="rId69"/>
              </p:custDataLst>
            </p:nvPr>
          </p:nvPicPr>
          <p:blipFill>
            <a:blip r:embed="rId589" cstate="print">
              <a:extLst>
                <a:ext uri="{BEBA8EAE-BF5A-486C-A8C5-ECC9F3942E4B}">
                  <a14:imgProps xmlns:a14="http://schemas.microsoft.com/office/drawing/2010/main">
                    <a14:imgLayer r:embed="rId590">
                      <a14:imgEffect>
                        <a14:colorTemperature colorTemp="8800"/>
                      </a14:imgEffect>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92343" y="4689475"/>
              <a:ext cx="538710" cy="538710"/>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57" descr="C:\Users\mattha\AppData\Local\Microsoft\Windows\Temporary Internet Files\Content.IE5\GIPOTG0L\MC900412770[1].wmf"/>
            <p:cNvPicPr>
              <a:picLocks noChangeAspect="1" noChangeArrowheads="1"/>
            </p:cNvPicPr>
            <p:nvPr>
              <p:custDataLst>
                <p:tags r:id="rId70"/>
              </p:custDataLst>
            </p:nvPr>
          </p:nvPicPr>
          <p:blipFill>
            <a:blip r:embed="rId591" cstate="print">
              <a:duotone>
                <a:schemeClr val="accent4">
                  <a:shade val="45000"/>
                  <a:satMod val="135000"/>
                </a:schemeClr>
                <a:prstClr val="white"/>
              </a:duotone>
              <a:lum contrast="-20000"/>
              <a:extLst>
                <a:ext uri="{28A0092B-C50C-407E-A947-70E740481C1C}">
                  <a14:useLocalDpi xmlns:a14="http://schemas.microsoft.com/office/drawing/2010/main" val="0"/>
                </a:ext>
              </a:extLst>
            </a:blip>
            <a:srcRect/>
            <a:stretch>
              <a:fillRect/>
            </a:stretch>
          </p:blipFill>
          <p:spPr bwMode="auto">
            <a:xfrm>
              <a:off x="1671570" y="2192110"/>
              <a:ext cx="306232" cy="421407"/>
            </a:xfrm>
            <a:prstGeom prst="rect">
              <a:avLst/>
            </a:prstGeom>
            <a:noFill/>
            <a:extLst>
              <a:ext uri="{909E8E84-426E-40DD-AFC4-6F175D3DCCD1}">
                <a14:hiddenFill xmlns:a14="http://schemas.microsoft.com/office/drawing/2010/main">
                  <a:solidFill>
                    <a:srgbClr val="FFFFFF"/>
                  </a:solidFill>
                </a14:hiddenFill>
              </a:ext>
            </a:extLst>
          </p:spPr>
        </p:pic>
        <p:pic>
          <p:nvPicPr>
            <p:cNvPr id="1069" name="Picture 66" descr="C:\Users\mattha\AppData\Local\Microsoft\Windows\Temporary Internet Files\Content.IE5\GIPOTG0L\MC900442092[1].wmf"/>
            <p:cNvPicPr>
              <a:picLocks noChangeAspect="1" noChangeArrowheads="1"/>
            </p:cNvPicPr>
            <p:nvPr>
              <p:custDataLst>
                <p:tags r:id="rId71"/>
              </p:custDataLst>
            </p:nvPr>
          </p:nvPicPr>
          <p:blipFill>
            <a:blip r:embed="rId592" cstate="print">
              <a:duotone>
                <a:prstClr val="black"/>
                <a:schemeClr val="accent4">
                  <a:tint val="45000"/>
                  <a:satMod val="400000"/>
                </a:schemeClr>
              </a:duotone>
              <a:lum bright="20000" contrast="-40000"/>
              <a:extLst>
                <a:ext uri="{28A0092B-C50C-407E-A947-70E740481C1C}">
                  <a14:useLocalDpi xmlns:a14="http://schemas.microsoft.com/office/drawing/2010/main" val="0"/>
                </a:ext>
              </a:extLst>
            </a:blip>
            <a:srcRect/>
            <a:stretch>
              <a:fillRect/>
            </a:stretch>
          </p:blipFill>
          <p:spPr bwMode="auto">
            <a:xfrm>
              <a:off x="5680769" y="1814290"/>
              <a:ext cx="552145" cy="220678"/>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40"/>
            <p:cNvGrpSpPr/>
            <p:nvPr>
              <p:custDataLst>
                <p:tags r:id="rId72"/>
              </p:custDataLst>
            </p:nvPr>
          </p:nvGrpSpPr>
          <p:grpSpPr>
            <a:xfrm>
              <a:off x="5244368" y="2613724"/>
              <a:ext cx="249647" cy="251917"/>
              <a:chOff x="7230319" y="326252"/>
              <a:chExt cx="506784" cy="510648"/>
            </a:xfrm>
          </p:grpSpPr>
          <p:pic>
            <p:nvPicPr>
              <p:cNvPr id="1113" name="Picture 5"/>
              <p:cNvPicPr>
                <a:picLocks noChangeAspect="1" noChangeArrowheads="1"/>
              </p:cNvPicPr>
              <p:nvPr>
                <p:custDataLst>
                  <p:tags r:id="rId82"/>
                </p:custDataLst>
              </p:nvPr>
            </p:nvPicPr>
            <p:blipFill>
              <a:blip r:embed="rId573" cstate="print">
                <a:duotone>
                  <a:prstClr val="black"/>
                  <a:schemeClr val="tx2">
                    <a:tint val="45000"/>
                    <a:satMod val="400000"/>
                  </a:schemeClr>
                </a:duotone>
              </a:blip>
              <a:srcRect/>
              <a:stretch>
                <a:fillRect/>
              </a:stretch>
            </p:blipFill>
            <p:spPr bwMode="auto">
              <a:xfrm>
                <a:off x="7473433" y="326252"/>
                <a:ext cx="99417" cy="287556"/>
              </a:xfrm>
              <a:prstGeom prst="rect">
                <a:avLst/>
              </a:prstGeom>
              <a:noFill/>
              <a:ln w="9525">
                <a:noFill/>
                <a:miter lim="800000"/>
                <a:headEnd/>
                <a:tailEnd/>
              </a:ln>
              <a:effectLst/>
            </p:spPr>
          </p:pic>
          <p:pic>
            <p:nvPicPr>
              <p:cNvPr id="1114" name="Picture 17"/>
              <p:cNvPicPr>
                <a:picLocks noChangeAspect="1" noChangeArrowheads="1"/>
              </p:cNvPicPr>
              <p:nvPr>
                <p:custDataLst>
                  <p:tags r:id="rId83"/>
                </p:custDataLst>
              </p:nvPr>
            </p:nvPicPr>
            <p:blipFill>
              <a:blip r:embed="rId577" cstate="print">
                <a:duotone>
                  <a:prstClr val="black"/>
                  <a:schemeClr val="tx2">
                    <a:tint val="45000"/>
                    <a:satMod val="400000"/>
                  </a:schemeClr>
                </a:duotone>
              </a:blip>
              <a:srcRect/>
              <a:stretch>
                <a:fillRect/>
              </a:stretch>
            </p:blipFill>
            <p:spPr bwMode="auto">
              <a:xfrm>
                <a:off x="7644220" y="368144"/>
                <a:ext cx="92883" cy="292100"/>
              </a:xfrm>
              <a:prstGeom prst="rect">
                <a:avLst/>
              </a:prstGeom>
              <a:noFill/>
              <a:ln w="9525" algn="ctr">
                <a:noFill/>
                <a:miter lim="800000"/>
                <a:headEnd type="none" w="lg" len="lg"/>
                <a:tailEnd type="none" w="lg" len="lg"/>
              </a:ln>
              <a:effectLst/>
            </p:spPr>
          </p:pic>
          <p:pic>
            <p:nvPicPr>
              <p:cNvPr id="1115" name="Picture 17"/>
              <p:cNvPicPr>
                <a:picLocks noChangeAspect="1" noChangeArrowheads="1"/>
              </p:cNvPicPr>
              <p:nvPr>
                <p:custDataLst>
                  <p:tags r:id="rId84"/>
                </p:custDataLst>
              </p:nvPr>
            </p:nvPicPr>
            <p:blipFill>
              <a:blip r:embed="rId577" cstate="print">
                <a:duotone>
                  <a:prstClr val="black"/>
                  <a:schemeClr val="tx2">
                    <a:tint val="45000"/>
                    <a:satMod val="400000"/>
                  </a:schemeClr>
                </a:duotone>
              </a:blip>
              <a:srcRect/>
              <a:stretch>
                <a:fillRect/>
              </a:stretch>
            </p:blipFill>
            <p:spPr bwMode="auto">
              <a:xfrm>
                <a:off x="7394573" y="502908"/>
                <a:ext cx="92883" cy="292100"/>
              </a:xfrm>
              <a:prstGeom prst="rect">
                <a:avLst/>
              </a:prstGeom>
              <a:noFill/>
              <a:ln w="9525" algn="ctr">
                <a:noFill/>
                <a:miter lim="800000"/>
                <a:headEnd type="none" w="lg" len="lg"/>
                <a:tailEnd type="none" w="lg" len="lg"/>
              </a:ln>
              <a:effectLst/>
            </p:spPr>
          </p:pic>
          <p:pic>
            <p:nvPicPr>
              <p:cNvPr id="1116" name="Picture 5"/>
              <p:cNvPicPr>
                <a:picLocks noChangeAspect="1" noChangeArrowheads="1"/>
              </p:cNvPicPr>
              <p:nvPr>
                <p:custDataLst>
                  <p:tags r:id="rId85"/>
                </p:custDataLst>
              </p:nvPr>
            </p:nvPicPr>
            <p:blipFill>
              <a:blip r:embed="rId573" cstate="print">
                <a:duotone>
                  <a:prstClr val="black"/>
                  <a:schemeClr val="tx2">
                    <a:tint val="45000"/>
                    <a:satMod val="400000"/>
                  </a:schemeClr>
                </a:duotone>
              </a:blip>
              <a:srcRect/>
              <a:stretch>
                <a:fillRect/>
              </a:stretch>
            </p:blipFill>
            <p:spPr bwMode="auto">
              <a:xfrm>
                <a:off x="7558827" y="461016"/>
                <a:ext cx="99417" cy="287556"/>
              </a:xfrm>
              <a:prstGeom prst="rect">
                <a:avLst/>
              </a:prstGeom>
              <a:noFill/>
              <a:ln w="9525">
                <a:noFill/>
                <a:miter lim="800000"/>
                <a:headEnd/>
                <a:tailEnd/>
              </a:ln>
              <a:effectLst/>
            </p:spPr>
          </p:pic>
          <p:pic>
            <p:nvPicPr>
              <p:cNvPr id="1117" name="Picture 17"/>
              <p:cNvPicPr>
                <a:picLocks noChangeAspect="1" noChangeArrowheads="1"/>
              </p:cNvPicPr>
              <p:nvPr>
                <p:custDataLst>
                  <p:tags r:id="rId86"/>
                </p:custDataLst>
              </p:nvPr>
            </p:nvPicPr>
            <p:blipFill>
              <a:blip r:embed="rId577" cstate="print">
                <a:duotone>
                  <a:prstClr val="black"/>
                  <a:schemeClr val="tx2">
                    <a:tint val="45000"/>
                    <a:satMod val="400000"/>
                  </a:schemeClr>
                </a:duotone>
              </a:blip>
              <a:srcRect/>
              <a:stretch>
                <a:fillRect/>
              </a:stretch>
            </p:blipFill>
            <p:spPr bwMode="auto">
              <a:xfrm>
                <a:off x="7315713" y="414580"/>
                <a:ext cx="92883" cy="292100"/>
              </a:xfrm>
              <a:prstGeom prst="rect">
                <a:avLst/>
              </a:prstGeom>
              <a:noFill/>
              <a:ln w="9525" algn="ctr">
                <a:noFill/>
                <a:miter lim="800000"/>
                <a:headEnd type="none" w="lg" len="lg"/>
                <a:tailEnd type="none" w="lg" len="lg"/>
              </a:ln>
              <a:effectLst/>
            </p:spPr>
          </p:pic>
          <p:pic>
            <p:nvPicPr>
              <p:cNvPr id="1118" name="Picture 5"/>
              <p:cNvPicPr>
                <a:picLocks noChangeAspect="1" noChangeArrowheads="1"/>
              </p:cNvPicPr>
              <p:nvPr>
                <p:custDataLst>
                  <p:tags r:id="rId87"/>
                </p:custDataLst>
              </p:nvPr>
            </p:nvPicPr>
            <p:blipFill>
              <a:blip r:embed="rId573" cstate="print">
                <a:duotone>
                  <a:prstClr val="black"/>
                  <a:schemeClr val="tx2">
                    <a:tint val="45000"/>
                    <a:satMod val="400000"/>
                  </a:schemeClr>
                </a:duotone>
              </a:blip>
              <a:srcRect/>
              <a:stretch>
                <a:fillRect/>
              </a:stretch>
            </p:blipFill>
            <p:spPr bwMode="auto">
              <a:xfrm>
                <a:off x="7230319" y="549344"/>
                <a:ext cx="99417" cy="287556"/>
              </a:xfrm>
              <a:prstGeom prst="rect">
                <a:avLst/>
              </a:prstGeom>
              <a:noFill/>
              <a:ln w="9525">
                <a:noFill/>
                <a:miter lim="800000"/>
                <a:headEnd/>
                <a:tailEnd/>
              </a:ln>
              <a:effectLst/>
            </p:spPr>
          </p:pic>
        </p:grpSp>
        <p:sp>
          <p:nvSpPr>
            <p:cNvPr id="1071" name="Rectangle 5"/>
            <p:cNvSpPr>
              <a:spLocks noChangeArrowheads="1"/>
            </p:cNvSpPr>
            <p:nvPr>
              <p:custDataLst>
                <p:tags r:id="rId73"/>
              </p:custDataLst>
            </p:nvPr>
          </p:nvSpPr>
          <p:spPr bwMode="gray">
            <a:xfrm>
              <a:off x="3935690" y="1296737"/>
              <a:ext cx="1531831" cy="173413"/>
            </a:xfrm>
            <a:prstGeom prst="roundRect">
              <a:avLst/>
            </a:prstGeom>
            <a:noFill/>
            <a:ln w="38100" algn="ctr">
              <a:solidFill>
                <a:schemeClr val="tx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900" b="1" dirty="0">
                  <a:solidFill>
                    <a:srgbClr val="59452A"/>
                  </a:solidFill>
                  <a:latin typeface="Gill Sans MT" pitchFamily="34" charset="0"/>
                  <a:cs typeface="Arial" charset="0"/>
                </a:rPr>
                <a:t>POINT OF VACCINATION</a:t>
              </a:r>
              <a:endParaRPr lang="en-US" sz="900" dirty="0">
                <a:solidFill>
                  <a:srgbClr val="59452A"/>
                </a:solidFill>
                <a:latin typeface="Gill Sans MT" pitchFamily="34" charset="0"/>
                <a:cs typeface="Arial" charset="0"/>
              </a:endParaRPr>
            </a:p>
          </p:txBody>
        </p:sp>
        <p:sp>
          <p:nvSpPr>
            <p:cNvPr id="1072" name="TextBox 1071"/>
            <p:cNvSpPr txBox="1"/>
            <p:nvPr>
              <p:custDataLst>
                <p:tags r:id="rId74"/>
              </p:custDataLst>
            </p:nvPr>
          </p:nvSpPr>
          <p:spPr>
            <a:xfrm rot="19005650">
              <a:off x="1640239" y="3071585"/>
              <a:ext cx="2795387" cy="221520"/>
            </a:xfrm>
            <a:prstGeom prst="rect">
              <a:avLst/>
            </a:prstGeom>
            <a:noFill/>
            <a:ln>
              <a:noFill/>
            </a:ln>
          </p:spPr>
          <p:txBody>
            <a:bodyPr wrap="square" rtlCol="0">
              <a:noAutofit/>
            </a:bodyPr>
            <a:lstStyle/>
            <a:p>
              <a:pPr fontAlgn="base">
                <a:spcAft>
                  <a:spcPct val="0"/>
                </a:spcAft>
              </a:pPr>
              <a:r>
                <a:rPr lang="en-US" sz="900" dirty="0" smtClean="0">
                  <a:solidFill>
                    <a:srgbClr val="59452A"/>
                  </a:solidFill>
                  <a:latin typeface="Gill Sans MT" pitchFamily="34" charset="0"/>
                  <a:cs typeface="Arial" pitchFamily="34" charset="0"/>
                </a:rPr>
                <a:t>--------------------     Supply chain data      -------------------</a:t>
              </a:r>
            </a:p>
          </p:txBody>
        </p:sp>
        <p:pic>
          <p:nvPicPr>
            <p:cNvPr id="1073" name="Picture 5"/>
            <p:cNvPicPr>
              <a:picLocks noChangeAspect="1" noChangeArrowheads="1"/>
            </p:cNvPicPr>
            <p:nvPr>
              <p:custDataLst>
                <p:tags r:id="rId75"/>
              </p:custDataLst>
            </p:nvPr>
          </p:nvPicPr>
          <p:blipFill>
            <a:blip r:embed="rId573" cstate="print">
              <a:biLevel thresh="75000"/>
              <a:lum bright="40000" contrast="-40000"/>
            </a:blip>
            <a:srcRect/>
            <a:stretch>
              <a:fillRect/>
            </a:stretch>
          </p:blipFill>
          <p:spPr bwMode="auto">
            <a:xfrm>
              <a:off x="6275839" y="2722228"/>
              <a:ext cx="99417" cy="287556"/>
            </a:xfrm>
            <a:prstGeom prst="rect">
              <a:avLst/>
            </a:prstGeom>
            <a:noFill/>
            <a:ln w="9525">
              <a:noFill/>
              <a:miter lim="800000"/>
              <a:headEnd/>
              <a:tailEnd/>
            </a:ln>
            <a:effectLst/>
          </p:spPr>
        </p:pic>
        <p:pic>
          <p:nvPicPr>
            <p:cNvPr id="1074" name="Picture 87" descr="C:\Users\mattha\AppData\Local\Microsoft\Windows\Temporary Internet Files\Content.IE5\DT8ZIQ2F\MC910216326[1].png"/>
            <p:cNvPicPr>
              <a:picLocks noChangeAspect="1" noChangeArrowheads="1"/>
            </p:cNvPicPr>
            <p:nvPr>
              <p:custDataLst>
                <p:tags r:id="rId76"/>
              </p:custDataLst>
            </p:nvPr>
          </p:nvPicPr>
          <p:blipFill>
            <a:blip r:embed="rId593" cstate="print">
              <a:duotone>
                <a:schemeClr val="accent5">
                  <a:shade val="45000"/>
                  <a:satMod val="135000"/>
                </a:schemeClr>
                <a:prstClr val="white"/>
              </a:duotone>
              <a:extLst>
                <a:ext uri="{BEBA8EAE-BF5A-486C-A8C5-ECC9F3942E4B}">
                  <a14:imgProps xmlns:a14="http://schemas.microsoft.com/office/drawing/2010/main">
                    <a14:imgLayer r:embed="rId59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601943" y="4170733"/>
              <a:ext cx="248459" cy="343505"/>
            </a:xfrm>
            <a:prstGeom prst="rect">
              <a:avLst/>
            </a:prstGeom>
            <a:noFill/>
            <a:extLst>
              <a:ext uri="{909E8E84-426E-40DD-AFC4-6F175D3DCCD1}">
                <a14:hiddenFill xmlns:a14="http://schemas.microsoft.com/office/drawing/2010/main">
                  <a:solidFill>
                    <a:srgbClr val="FFFFFF"/>
                  </a:solidFill>
                </a14:hiddenFill>
              </a:ext>
            </a:extLst>
          </p:spPr>
        </p:pic>
        <p:pic>
          <p:nvPicPr>
            <p:cNvPr id="1075" name="Picture 4" descr="Data Chart Clip Art"/>
            <p:cNvPicPr>
              <a:picLocks noChangeAspect="1" noChangeArrowheads="1"/>
            </p:cNvPicPr>
            <p:nvPr>
              <p:custDataLst>
                <p:tags r:id="rId77"/>
              </p:custDataLst>
            </p:nvPr>
          </p:nvPicPr>
          <p:blipFill>
            <a:blip r:embed="rId595" cstate="print"/>
            <a:srcRect/>
            <a:stretch>
              <a:fillRect/>
            </a:stretch>
          </p:blipFill>
          <p:spPr bwMode="auto">
            <a:xfrm>
              <a:off x="3571875" y="2470595"/>
              <a:ext cx="247650" cy="236093"/>
            </a:xfrm>
            <a:prstGeom prst="rect">
              <a:avLst/>
            </a:prstGeom>
            <a:noFill/>
          </p:spPr>
        </p:pic>
        <p:grpSp>
          <p:nvGrpSpPr>
            <p:cNvPr id="47" name="Group 848"/>
            <p:cNvGrpSpPr/>
            <p:nvPr>
              <p:custDataLst>
                <p:tags r:id="rId78"/>
              </p:custDataLst>
            </p:nvPr>
          </p:nvGrpSpPr>
          <p:grpSpPr>
            <a:xfrm>
              <a:off x="2257425" y="3627438"/>
              <a:ext cx="274638" cy="333375"/>
              <a:chOff x="2257425" y="3627438"/>
              <a:chExt cx="274638" cy="333375"/>
            </a:xfrm>
          </p:grpSpPr>
          <p:sp>
            <p:nvSpPr>
              <p:cNvPr id="1080" name="AutoShape 6"/>
              <p:cNvSpPr>
                <a:spLocks noChangeAspect="1" noChangeArrowheads="1" noTextEdit="1"/>
              </p:cNvSpPr>
              <p:nvPr/>
            </p:nvSpPr>
            <p:spPr bwMode="auto">
              <a:xfrm>
                <a:off x="2257425" y="3627438"/>
                <a:ext cx="274638"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1" name="Freeform 8"/>
              <p:cNvSpPr>
                <a:spLocks/>
              </p:cNvSpPr>
              <p:nvPr/>
            </p:nvSpPr>
            <p:spPr bwMode="auto">
              <a:xfrm>
                <a:off x="2314575" y="3643313"/>
                <a:ext cx="138113" cy="230188"/>
              </a:xfrm>
              <a:custGeom>
                <a:avLst/>
                <a:gdLst/>
                <a:ahLst/>
                <a:cxnLst>
                  <a:cxn ang="0">
                    <a:pos x="2" y="683"/>
                  </a:cxn>
                  <a:cxn ang="0">
                    <a:pos x="442" y="523"/>
                  </a:cxn>
                  <a:cxn ang="0">
                    <a:pos x="440" y="31"/>
                  </a:cxn>
                  <a:cxn ang="0">
                    <a:pos x="419" y="0"/>
                  </a:cxn>
                  <a:cxn ang="0">
                    <a:pos x="0" y="93"/>
                  </a:cxn>
                  <a:cxn ang="0">
                    <a:pos x="2" y="683"/>
                  </a:cxn>
                </a:cxnLst>
                <a:rect l="0" t="0" r="r" b="b"/>
                <a:pathLst>
                  <a:path w="442" h="683">
                    <a:moveTo>
                      <a:pt x="2" y="683"/>
                    </a:moveTo>
                    <a:cubicBezTo>
                      <a:pt x="442" y="523"/>
                      <a:pt x="442" y="523"/>
                      <a:pt x="442" y="523"/>
                    </a:cubicBezTo>
                    <a:cubicBezTo>
                      <a:pt x="439" y="27"/>
                      <a:pt x="440" y="39"/>
                      <a:pt x="440" y="31"/>
                    </a:cubicBezTo>
                    <a:cubicBezTo>
                      <a:pt x="440" y="1"/>
                      <a:pt x="419" y="0"/>
                      <a:pt x="419" y="0"/>
                    </a:cubicBezTo>
                    <a:cubicBezTo>
                      <a:pt x="0" y="93"/>
                      <a:pt x="0" y="93"/>
                      <a:pt x="0" y="93"/>
                    </a:cubicBezTo>
                    <a:lnTo>
                      <a:pt x="2" y="683"/>
                    </a:lnTo>
                    <a:close/>
                  </a:path>
                </a:pathLst>
              </a:custGeom>
              <a:solidFill>
                <a:srgbClr val="FFFFFF"/>
              </a:solidFill>
              <a:ln w="4763"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2" name="Freeform 9"/>
              <p:cNvSpPr>
                <a:spLocks/>
              </p:cNvSpPr>
              <p:nvPr/>
            </p:nvSpPr>
            <p:spPr bwMode="auto">
              <a:xfrm>
                <a:off x="2259013" y="3656013"/>
                <a:ext cx="53975" cy="217488"/>
              </a:xfrm>
              <a:custGeom>
                <a:avLst/>
                <a:gdLst/>
                <a:ahLst/>
                <a:cxnLst>
                  <a:cxn ang="0">
                    <a:pos x="173" y="644"/>
                  </a:cxn>
                  <a:cxn ang="0">
                    <a:pos x="19" y="566"/>
                  </a:cxn>
                  <a:cxn ang="0">
                    <a:pos x="0" y="531"/>
                  </a:cxn>
                  <a:cxn ang="0">
                    <a:pos x="1" y="0"/>
                  </a:cxn>
                  <a:cxn ang="0">
                    <a:pos x="173" y="49"/>
                  </a:cxn>
                  <a:cxn ang="0">
                    <a:pos x="173" y="644"/>
                  </a:cxn>
                </a:cxnLst>
                <a:rect l="0" t="0" r="r" b="b"/>
                <a:pathLst>
                  <a:path w="173" h="644">
                    <a:moveTo>
                      <a:pt x="173" y="644"/>
                    </a:moveTo>
                    <a:cubicBezTo>
                      <a:pt x="19" y="566"/>
                      <a:pt x="19" y="566"/>
                      <a:pt x="19" y="566"/>
                    </a:cubicBezTo>
                    <a:cubicBezTo>
                      <a:pt x="19" y="566"/>
                      <a:pt x="1" y="558"/>
                      <a:pt x="0" y="531"/>
                    </a:cubicBezTo>
                    <a:cubicBezTo>
                      <a:pt x="0" y="508"/>
                      <a:pt x="1" y="0"/>
                      <a:pt x="1" y="0"/>
                    </a:cubicBezTo>
                    <a:cubicBezTo>
                      <a:pt x="173" y="49"/>
                      <a:pt x="173" y="49"/>
                      <a:pt x="173" y="49"/>
                    </a:cubicBezTo>
                    <a:lnTo>
                      <a:pt x="173" y="644"/>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3" name="Freeform 10"/>
              <p:cNvSpPr>
                <a:spLocks/>
              </p:cNvSpPr>
              <p:nvPr/>
            </p:nvSpPr>
            <p:spPr bwMode="auto">
              <a:xfrm>
                <a:off x="2259013" y="3629026"/>
                <a:ext cx="187325" cy="44450"/>
              </a:xfrm>
              <a:custGeom>
                <a:avLst/>
                <a:gdLst/>
                <a:ahLst/>
                <a:cxnLst>
                  <a:cxn ang="0">
                    <a:pos x="35" y="28"/>
                  </a:cxn>
                  <a:cxn ang="0">
                    <a:pos x="0" y="17"/>
                  </a:cxn>
                  <a:cxn ang="0">
                    <a:pos x="79" y="0"/>
                  </a:cxn>
                  <a:cxn ang="0">
                    <a:pos x="118" y="9"/>
                  </a:cxn>
                  <a:cxn ang="0">
                    <a:pos x="35" y="28"/>
                  </a:cxn>
                </a:cxnLst>
                <a:rect l="0" t="0" r="r" b="b"/>
                <a:pathLst>
                  <a:path w="118" h="28">
                    <a:moveTo>
                      <a:pt x="35" y="28"/>
                    </a:moveTo>
                    <a:lnTo>
                      <a:pt x="0" y="17"/>
                    </a:lnTo>
                    <a:lnTo>
                      <a:pt x="79" y="0"/>
                    </a:lnTo>
                    <a:lnTo>
                      <a:pt x="118" y="9"/>
                    </a:lnTo>
                    <a:lnTo>
                      <a:pt x="35" y="28"/>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4" name="Freeform 11"/>
              <p:cNvSpPr>
                <a:spLocks/>
              </p:cNvSpPr>
              <p:nvPr/>
            </p:nvSpPr>
            <p:spPr bwMode="auto">
              <a:xfrm>
                <a:off x="2297113" y="3814763"/>
                <a:ext cx="11113" cy="46038"/>
              </a:xfrm>
              <a:custGeom>
                <a:avLst/>
                <a:gdLst/>
                <a:ahLst/>
                <a:cxnLst>
                  <a:cxn ang="0">
                    <a:pos x="7" y="29"/>
                  </a:cxn>
                  <a:cxn ang="0">
                    <a:pos x="0" y="25"/>
                  </a:cxn>
                  <a:cxn ang="0">
                    <a:pos x="0" y="0"/>
                  </a:cxn>
                  <a:cxn ang="0">
                    <a:pos x="7" y="3"/>
                  </a:cxn>
                  <a:cxn ang="0">
                    <a:pos x="7" y="29"/>
                  </a:cxn>
                </a:cxnLst>
                <a:rect l="0" t="0" r="r" b="b"/>
                <a:pathLst>
                  <a:path w="7" h="29">
                    <a:moveTo>
                      <a:pt x="7" y="29"/>
                    </a:moveTo>
                    <a:lnTo>
                      <a:pt x="0" y="25"/>
                    </a:lnTo>
                    <a:lnTo>
                      <a:pt x="0" y="0"/>
                    </a:lnTo>
                    <a:lnTo>
                      <a:pt x="7" y="3"/>
                    </a:lnTo>
                    <a:lnTo>
                      <a:pt x="7" y="29"/>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5" name="Freeform 12"/>
              <p:cNvSpPr>
                <a:spLocks/>
              </p:cNvSpPr>
              <p:nvPr/>
            </p:nvSpPr>
            <p:spPr bwMode="auto">
              <a:xfrm>
                <a:off x="2263775" y="3735388"/>
                <a:ext cx="47625" cy="36513"/>
              </a:xfrm>
              <a:custGeom>
                <a:avLst/>
                <a:gdLst/>
                <a:ahLst/>
                <a:cxnLst>
                  <a:cxn ang="0">
                    <a:pos x="30" y="23"/>
                  </a:cxn>
                  <a:cxn ang="0">
                    <a:pos x="0" y="9"/>
                  </a:cxn>
                  <a:cxn ang="0">
                    <a:pos x="0" y="0"/>
                  </a:cxn>
                  <a:cxn ang="0">
                    <a:pos x="30" y="13"/>
                  </a:cxn>
                  <a:cxn ang="0">
                    <a:pos x="30" y="23"/>
                  </a:cxn>
                </a:cxnLst>
                <a:rect l="0" t="0" r="r" b="b"/>
                <a:pathLst>
                  <a:path w="30" h="23">
                    <a:moveTo>
                      <a:pt x="30" y="23"/>
                    </a:moveTo>
                    <a:lnTo>
                      <a:pt x="0" y="9"/>
                    </a:lnTo>
                    <a:lnTo>
                      <a:pt x="0" y="0"/>
                    </a:lnTo>
                    <a:lnTo>
                      <a:pt x="30" y="13"/>
                    </a:lnTo>
                    <a:lnTo>
                      <a:pt x="30" y="23"/>
                    </a:lnTo>
                    <a:close/>
                  </a:path>
                </a:pathLst>
              </a:custGeom>
              <a:noFill/>
              <a:ln w="15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6" name="Oval 13"/>
              <p:cNvSpPr>
                <a:spLocks noChangeArrowheads="1"/>
              </p:cNvSpPr>
              <p:nvPr/>
            </p:nvSpPr>
            <p:spPr bwMode="auto">
              <a:xfrm>
                <a:off x="2265363" y="3716338"/>
                <a:ext cx="4763" cy="12700"/>
              </a:xfrm>
              <a:prstGeom prst="ellipse">
                <a:avLst/>
              </a:prstGeom>
              <a:solidFill>
                <a:srgbClr val="FFFFFF"/>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7" name="Oval 14"/>
              <p:cNvSpPr>
                <a:spLocks noChangeArrowheads="1"/>
              </p:cNvSpPr>
              <p:nvPr/>
            </p:nvSpPr>
            <p:spPr bwMode="auto">
              <a:xfrm>
                <a:off x="2266950" y="3716338"/>
                <a:ext cx="4763" cy="12700"/>
              </a:xfrm>
              <a:prstGeom prst="ellipse">
                <a:avLst/>
              </a:pr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8" name="Freeform 15"/>
              <p:cNvSpPr>
                <a:spLocks/>
              </p:cNvSpPr>
              <p:nvPr/>
            </p:nvSpPr>
            <p:spPr bwMode="auto">
              <a:xfrm>
                <a:off x="2311400" y="3867151"/>
                <a:ext cx="176213" cy="92075"/>
              </a:xfrm>
              <a:custGeom>
                <a:avLst/>
                <a:gdLst/>
                <a:ahLst/>
                <a:cxnLst>
                  <a:cxn ang="0">
                    <a:pos x="34" y="0"/>
                  </a:cxn>
                  <a:cxn ang="0">
                    <a:pos x="111" y="38"/>
                  </a:cxn>
                  <a:cxn ang="0">
                    <a:pos x="111" y="43"/>
                  </a:cxn>
                  <a:cxn ang="0">
                    <a:pos x="74" y="58"/>
                  </a:cxn>
                  <a:cxn ang="0">
                    <a:pos x="0" y="16"/>
                  </a:cxn>
                  <a:cxn ang="0">
                    <a:pos x="0" y="14"/>
                  </a:cxn>
                  <a:cxn ang="0">
                    <a:pos x="34" y="0"/>
                  </a:cxn>
                </a:cxnLst>
                <a:rect l="0" t="0" r="r" b="b"/>
                <a:pathLst>
                  <a:path w="111" h="58">
                    <a:moveTo>
                      <a:pt x="34" y="0"/>
                    </a:moveTo>
                    <a:lnTo>
                      <a:pt x="111" y="38"/>
                    </a:lnTo>
                    <a:lnTo>
                      <a:pt x="111" y="43"/>
                    </a:lnTo>
                    <a:lnTo>
                      <a:pt x="74" y="58"/>
                    </a:lnTo>
                    <a:lnTo>
                      <a:pt x="0" y="16"/>
                    </a:lnTo>
                    <a:lnTo>
                      <a:pt x="0" y="14"/>
                    </a:lnTo>
                    <a:lnTo>
                      <a:pt x="34" y="0"/>
                    </a:lnTo>
                    <a:close/>
                  </a:path>
                </a:pathLst>
              </a:custGeom>
              <a:solidFill>
                <a:srgbClr val="B2B2B2"/>
              </a:solidFill>
              <a:ln w="317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89" name="Freeform 16"/>
              <p:cNvSpPr>
                <a:spLocks/>
              </p:cNvSpPr>
              <p:nvPr/>
            </p:nvSpPr>
            <p:spPr bwMode="auto">
              <a:xfrm>
                <a:off x="2346325" y="3897313"/>
                <a:ext cx="63500" cy="33338"/>
              </a:xfrm>
              <a:custGeom>
                <a:avLst/>
                <a:gdLst/>
                <a:ahLst/>
                <a:cxnLst>
                  <a:cxn ang="0">
                    <a:pos x="7" y="0"/>
                  </a:cxn>
                  <a:cxn ang="0">
                    <a:pos x="40" y="18"/>
                  </a:cxn>
                  <a:cxn ang="0">
                    <a:pos x="33" y="21"/>
                  </a:cxn>
                  <a:cxn ang="0">
                    <a:pos x="0" y="3"/>
                  </a:cxn>
                  <a:cxn ang="0">
                    <a:pos x="7" y="0"/>
                  </a:cxn>
                </a:cxnLst>
                <a:rect l="0" t="0" r="r" b="b"/>
                <a:pathLst>
                  <a:path w="40" h="21">
                    <a:moveTo>
                      <a:pt x="7" y="0"/>
                    </a:moveTo>
                    <a:lnTo>
                      <a:pt x="40" y="18"/>
                    </a:lnTo>
                    <a:lnTo>
                      <a:pt x="33" y="21"/>
                    </a:lnTo>
                    <a:lnTo>
                      <a:pt x="0" y="3"/>
                    </a:lnTo>
                    <a:lnTo>
                      <a:pt x="7" y="0"/>
                    </a:lnTo>
                    <a:close/>
                  </a:path>
                </a:pathLst>
              </a:custGeom>
              <a:solidFill>
                <a:srgbClr val="B2B2B2"/>
              </a:solid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0" name="Line 17"/>
              <p:cNvSpPr>
                <a:spLocks noChangeShapeType="1"/>
              </p:cNvSpPr>
              <p:nvPr/>
            </p:nvSpPr>
            <p:spPr bwMode="auto">
              <a:xfrm>
                <a:off x="2349500" y="3875088"/>
                <a:ext cx="115888"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1" name="Line 18"/>
              <p:cNvSpPr>
                <a:spLocks noChangeShapeType="1"/>
              </p:cNvSpPr>
              <p:nvPr/>
            </p:nvSpPr>
            <p:spPr bwMode="auto">
              <a:xfrm>
                <a:off x="2341563" y="3878263"/>
                <a:ext cx="114300" cy="61913"/>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2" name="Line 19"/>
              <p:cNvSpPr>
                <a:spLocks noChangeShapeType="1"/>
              </p:cNvSpPr>
              <p:nvPr/>
            </p:nvSpPr>
            <p:spPr bwMode="auto">
              <a:xfrm>
                <a:off x="2333625" y="3883026"/>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3" name="Line 20"/>
              <p:cNvSpPr>
                <a:spLocks noChangeShapeType="1"/>
              </p:cNvSpPr>
              <p:nvPr/>
            </p:nvSpPr>
            <p:spPr bwMode="auto">
              <a:xfrm>
                <a:off x="2359025" y="3871913"/>
                <a:ext cx="114300" cy="6032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4" name="Line 21"/>
              <p:cNvSpPr>
                <a:spLocks noChangeShapeType="1"/>
              </p:cNvSpPr>
              <p:nvPr/>
            </p:nvSpPr>
            <p:spPr bwMode="auto">
              <a:xfrm flipV="1">
                <a:off x="2438400" y="3922713"/>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5" name="Line 22"/>
              <p:cNvSpPr>
                <a:spLocks noChangeShapeType="1"/>
              </p:cNvSpPr>
              <p:nvPr/>
            </p:nvSpPr>
            <p:spPr bwMode="auto">
              <a:xfrm flipV="1">
                <a:off x="2430463" y="3919538"/>
                <a:ext cx="33338"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6" name="Line 23"/>
              <p:cNvSpPr>
                <a:spLocks noChangeShapeType="1"/>
              </p:cNvSpPr>
              <p:nvPr/>
            </p:nvSpPr>
            <p:spPr bwMode="auto">
              <a:xfrm flipV="1">
                <a:off x="2424113" y="39163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7" name="Line 24"/>
              <p:cNvSpPr>
                <a:spLocks noChangeShapeType="1"/>
              </p:cNvSpPr>
              <p:nvPr/>
            </p:nvSpPr>
            <p:spPr bwMode="auto">
              <a:xfrm flipV="1">
                <a:off x="2416175" y="39116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8" name="Line 25"/>
              <p:cNvSpPr>
                <a:spLocks noChangeShapeType="1"/>
              </p:cNvSpPr>
              <p:nvPr/>
            </p:nvSpPr>
            <p:spPr bwMode="auto">
              <a:xfrm flipV="1">
                <a:off x="2408238" y="39084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099" name="Line 26"/>
              <p:cNvSpPr>
                <a:spLocks noChangeShapeType="1"/>
              </p:cNvSpPr>
              <p:nvPr/>
            </p:nvSpPr>
            <p:spPr bwMode="auto">
              <a:xfrm flipV="1">
                <a:off x="2400300" y="390366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0" name="Line 27"/>
              <p:cNvSpPr>
                <a:spLocks noChangeShapeType="1"/>
              </p:cNvSpPr>
              <p:nvPr/>
            </p:nvSpPr>
            <p:spPr bwMode="auto">
              <a:xfrm flipV="1">
                <a:off x="2392363" y="3898901"/>
                <a:ext cx="31750"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1" name="Line 28"/>
              <p:cNvSpPr>
                <a:spLocks noChangeShapeType="1"/>
              </p:cNvSpPr>
              <p:nvPr/>
            </p:nvSpPr>
            <p:spPr bwMode="auto">
              <a:xfrm flipV="1">
                <a:off x="2386013" y="3895726"/>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2" name="Line 29"/>
              <p:cNvSpPr>
                <a:spLocks noChangeShapeType="1"/>
              </p:cNvSpPr>
              <p:nvPr/>
            </p:nvSpPr>
            <p:spPr bwMode="auto">
              <a:xfrm flipV="1">
                <a:off x="2378075" y="3892551"/>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3" name="Line 30"/>
              <p:cNvSpPr>
                <a:spLocks noChangeShapeType="1"/>
              </p:cNvSpPr>
              <p:nvPr/>
            </p:nvSpPr>
            <p:spPr bwMode="auto">
              <a:xfrm flipV="1">
                <a:off x="2370138" y="3887788"/>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4" name="Line 31"/>
              <p:cNvSpPr>
                <a:spLocks noChangeShapeType="1"/>
              </p:cNvSpPr>
              <p:nvPr/>
            </p:nvSpPr>
            <p:spPr bwMode="auto">
              <a:xfrm flipV="1">
                <a:off x="2362200" y="3883026"/>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5" name="Line 32"/>
              <p:cNvSpPr>
                <a:spLocks noChangeShapeType="1"/>
              </p:cNvSpPr>
              <p:nvPr/>
            </p:nvSpPr>
            <p:spPr bwMode="auto">
              <a:xfrm flipV="1">
                <a:off x="2355850" y="3878263"/>
                <a:ext cx="30163" cy="15875"/>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6" name="Line 33"/>
              <p:cNvSpPr>
                <a:spLocks noChangeShapeType="1"/>
              </p:cNvSpPr>
              <p:nvPr/>
            </p:nvSpPr>
            <p:spPr bwMode="auto">
              <a:xfrm flipV="1">
                <a:off x="2347913" y="3875088"/>
                <a:ext cx="30163"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7" name="Line 34"/>
              <p:cNvSpPr>
                <a:spLocks noChangeShapeType="1"/>
              </p:cNvSpPr>
              <p:nvPr/>
            </p:nvSpPr>
            <p:spPr bwMode="auto">
              <a:xfrm flipV="1">
                <a:off x="2339975" y="3871913"/>
                <a:ext cx="31750" cy="14288"/>
              </a:xfrm>
              <a:prstGeom prst="line">
                <a:avLst/>
              </a:prstGeom>
              <a:noFill/>
              <a:ln w="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8" name="Freeform 35"/>
              <p:cNvSpPr>
                <a:spLocks/>
              </p:cNvSpPr>
              <p:nvPr/>
            </p:nvSpPr>
            <p:spPr bwMode="auto">
              <a:xfrm>
                <a:off x="2314575" y="3868738"/>
                <a:ext cx="168275" cy="84138"/>
              </a:xfrm>
              <a:custGeom>
                <a:avLst/>
                <a:gdLst/>
                <a:ahLst/>
                <a:cxnLst>
                  <a:cxn ang="0">
                    <a:pos x="32" y="0"/>
                  </a:cxn>
                  <a:cxn ang="0">
                    <a:pos x="106" y="37"/>
                  </a:cxn>
                  <a:cxn ang="0">
                    <a:pos x="72" y="53"/>
                  </a:cxn>
                  <a:cxn ang="0">
                    <a:pos x="0" y="13"/>
                  </a:cxn>
                  <a:cxn ang="0">
                    <a:pos x="32" y="0"/>
                  </a:cxn>
                </a:cxnLst>
                <a:rect l="0" t="0" r="r" b="b"/>
                <a:pathLst>
                  <a:path w="106" h="53">
                    <a:moveTo>
                      <a:pt x="32" y="0"/>
                    </a:moveTo>
                    <a:lnTo>
                      <a:pt x="106" y="37"/>
                    </a:lnTo>
                    <a:lnTo>
                      <a:pt x="72" y="53"/>
                    </a:lnTo>
                    <a:lnTo>
                      <a:pt x="0" y="13"/>
                    </a:lnTo>
                    <a:lnTo>
                      <a:pt x="32" y="0"/>
                    </a:lnTo>
                    <a:close/>
                  </a:path>
                </a:pathLst>
              </a:custGeom>
              <a:noFill/>
              <a:ln w="1588"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09" name="Freeform 36"/>
              <p:cNvSpPr>
                <a:spLocks/>
              </p:cNvSpPr>
              <p:nvPr/>
            </p:nvSpPr>
            <p:spPr bwMode="auto">
              <a:xfrm>
                <a:off x="2387600" y="3848101"/>
                <a:ext cx="120650" cy="50800"/>
              </a:xfrm>
              <a:custGeom>
                <a:avLst/>
                <a:gdLst/>
                <a:ahLst/>
                <a:cxnLst>
                  <a:cxn ang="0">
                    <a:pos x="0" y="58"/>
                  </a:cxn>
                  <a:cxn ang="0">
                    <a:pos x="195" y="143"/>
                  </a:cxn>
                  <a:cxn ang="0">
                    <a:pos x="241" y="141"/>
                  </a:cxn>
                  <a:cxn ang="0">
                    <a:pos x="390" y="78"/>
                  </a:cxn>
                  <a:cxn ang="0">
                    <a:pos x="160" y="0"/>
                  </a:cxn>
                  <a:cxn ang="0">
                    <a:pos x="0" y="58"/>
                  </a:cxn>
                </a:cxnLst>
                <a:rect l="0" t="0" r="r" b="b"/>
                <a:pathLst>
                  <a:path w="390" h="153">
                    <a:moveTo>
                      <a:pt x="0" y="58"/>
                    </a:moveTo>
                    <a:cubicBezTo>
                      <a:pt x="0" y="58"/>
                      <a:pt x="170" y="132"/>
                      <a:pt x="195" y="143"/>
                    </a:cubicBezTo>
                    <a:cubicBezTo>
                      <a:pt x="220" y="153"/>
                      <a:pt x="241" y="141"/>
                      <a:pt x="241" y="141"/>
                    </a:cubicBezTo>
                    <a:cubicBezTo>
                      <a:pt x="390" y="78"/>
                      <a:pt x="390" y="78"/>
                      <a:pt x="390" y="78"/>
                    </a:cubicBezTo>
                    <a:cubicBezTo>
                      <a:pt x="160" y="0"/>
                      <a:pt x="160" y="0"/>
                      <a:pt x="160" y="0"/>
                    </a:cubicBezTo>
                    <a:lnTo>
                      <a:pt x="0" y="58"/>
                    </a:lnTo>
                    <a:close/>
                  </a:path>
                </a:pathLst>
              </a:custGeom>
              <a:solidFill>
                <a:srgbClr val="B2B2B2"/>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10" name="Freeform 37"/>
              <p:cNvSpPr>
                <a:spLocks/>
              </p:cNvSpPr>
              <p:nvPr/>
            </p:nvSpPr>
            <p:spPr bwMode="auto">
              <a:xfrm>
                <a:off x="2439988" y="3827463"/>
                <a:ext cx="22225" cy="46038"/>
              </a:xfrm>
              <a:custGeom>
                <a:avLst/>
                <a:gdLst/>
                <a:ahLst/>
                <a:cxnLst>
                  <a:cxn ang="0">
                    <a:pos x="1" y="2"/>
                  </a:cxn>
                  <a:cxn ang="0">
                    <a:pos x="0" y="26"/>
                  </a:cxn>
                  <a:cxn ang="0">
                    <a:pos x="8" y="29"/>
                  </a:cxn>
                  <a:cxn ang="0">
                    <a:pos x="13" y="27"/>
                  </a:cxn>
                  <a:cxn ang="0">
                    <a:pos x="14" y="2"/>
                  </a:cxn>
                  <a:cxn ang="0">
                    <a:pos x="6" y="0"/>
                  </a:cxn>
                  <a:cxn ang="0">
                    <a:pos x="1" y="2"/>
                  </a:cxn>
                </a:cxnLst>
                <a:rect l="0" t="0" r="r" b="b"/>
                <a:pathLst>
                  <a:path w="14" h="29">
                    <a:moveTo>
                      <a:pt x="1" y="2"/>
                    </a:moveTo>
                    <a:lnTo>
                      <a:pt x="0" y="26"/>
                    </a:lnTo>
                    <a:lnTo>
                      <a:pt x="8" y="29"/>
                    </a:lnTo>
                    <a:lnTo>
                      <a:pt x="13" y="27"/>
                    </a:lnTo>
                    <a:lnTo>
                      <a:pt x="14" y="2"/>
                    </a:lnTo>
                    <a:lnTo>
                      <a:pt x="6" y="0"/>
                    </a:lnTo>
                    <a:lnTo>
                      <a:pt x="1" y="2"/>
                    </a:lnTo>
                    <a:close/>
                  </a:path>
                </a:pathLst>
              </a:custGeom>
              <a:solidFill>
                <a:srgbClr val="FFFFFF"/>
              </a:solidFill>
              <a:ln w="0"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11" name="Freeform 38"/>
              <p:cNvSpPr>
                <a:spLocks/>
              </p:cNvSpPr>
              <p:nvPr/>
            </p:nvSpPr>
            <p:spPr bwMode="auto">
              <a:xfrm>
                <a:off x="2382838" y="3679826"/>
                <a:ext cx="149225" cy="204788"/>
              </a:xfrm>
              <a:custGeom>
                <a:avLst/>
                <a:gdLst/>
                <a:ahLst/>
                <a:cxnLst>
                  <a:cxn ang="0">
                    <a:pos x="2" y="433"/>
                  </a:cxn>
                  <a:cxn ang="0">
                    <a:pos x="433" y="600"/>
                  </a:cxn>
                  <a:cxn ang="0">
                    <a:pos x="475" y="572"/>
                  </a:cxn>
                  <a:cxn ang="0">
                    <a:pos x="472" y="186"/>
                  </a:cxn>
                  <a:cxn ang="0">
                    <a:pos x="435" y="116"/>
                  </a:cxn>
                  <a:cxn ang="0">
                    <a:pos x="0" y="0"/>
                  </a:cxn>
                  <a:cxn ang="0">
                    <a:pos x="2" y="433"/>
                  </a:cxn>
                </a:cxnLst>
                <a:rect l="0" t="0" r="r" b="b"/>
                <a:pathLst>
                  <a:path w="480" h="608">
                    <a:moveTo>
                      <a:pt x="2" y="433"/>
                    </a:moveTo>
                    <a:cubicBezTo>
                      <a:pt x="2" y="433"/>
                      <a:pt x="404" y="590"/>
                      <a:pt x="433" y="600"/>
                    </a:cubicBezTo>
                    <a:cubicBezTo>
                      <a:pt x="456" y="608"/>
                      <a:pt x="475" y="592"/>
                      <a:pt x="475" y="572"/>
                    </a:cubicBezTo>
                    <a:cubicBezTo>
                      <a:pt x="475" y="562"/>
                      <a:pt x="472" y="205"/>
                      <a:pt x="472" y="186"/>
                    </a:cubicBezTo>
                    <a:cubicBezTo>
                      <a:pt x="473" y="165"/>
                      <a:pt x="480" y="127"/>
                      <a:pt x="435" y="116"/>
                    </a:cubicBezTo>
                    <a:cubicBezTo>
                      <a:pt x="391" y="106"/>
                      <a:pt x="0" y="0"/>
                      <a:pt x="0" y="0"/>
                    </a:cubicBezTo>
                    <a:lnTo>
                      <a:pt x="2" y="433"/>
                    </a:lnTo>
                    <a:close/>
                  </a:path>
                </a:pathLst>
              </a:custGeom>
              <a:solidFill>
                <a:srgbClr val="B2B2B2"/>
              </a:solidFill>
              <a:ln w="3175" cap="flat">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sp>
            <p:nvSpPr>
              <p:cNvPr id="1112" name="Freeform 39"/>
              <p:cNvSpPr>
                <a:spLocks/>
              </p:cNvSpPr>
              <p:nvPr/>
            </p:nvSpPr>
            <p:spPr bwMode="auto">
              <a:xfrm>
                <a:off x="2393950" y="3698876"/>
                <a:ext cx="120650" cy="166688"/>
              </a:xfrm>
              <a:custGeom>
                <a:avLst/>
                <a:gdLst/>
                <a:ahLst/>
                <a:cxnLst>
                  <a:cxn ang="0">
                    <a:pos x="0" y="74"/>
                  </a:cxn>
                  <a:cxn ang="0">
                    <a:pos x="76" y="105"/>
                  </a:cxn>
                  <a:cxn ang="0">
                    <a:pos x="75" y="22"/>
                  </a:cxn>
                  <a:cxn ang="0">
                    <a:pos x="0" y="0"/>
                  </a:cxn>
                  <a:cxn ang="0">
                    <a:pos x="0" y="74"/>
                  </a:cxn>
                </a:cxnLst>
                <a:rect l="0" t="0" r="r" b="b"/>
                <a:pathLst>
                  <a:path w="76" h="105">
                    <a:moveTo>
                      <a:pt x="0" y="74"/>
                    </a:moveTo>
                    <a:lnTo>
                      <a:pt x="76" y="105"/>
                    </a:lnTo>
                    <a:lnTo>
                      <a:pt x="75" y="22"/>
                    </a:lnTo>
                    <a:lnTo>
                      <a:pt x="0" y="0"/>
                    </a:lnTo>
                    <a:lnTo>
                      <a:pt x="0" y="74"/>
                    </a:lnTo>
                    <a:close/>
                  </a:path>
                </a:pathLst>
              </a:custGeom>
              <a:solidFill>
                <a:srgbClr val="E2E2E2"/>
              </a:solidFill>
              <a:ln w="3175" cap="flat">
                <a:solidFill>
                  <a:srgbClr val="E2E2E2"/>
                </a:solidFill>
                <a:prstDash val="solid"/>
                <a:miter lim="800000"/>
                <a:headEnd/>
                <a:tailEnd/>
              </a:ln>
            </p:spPr>
            <p:txBody>
              <a:bodyPr vert="horz" wrap="square" lIns="91440" tIns="45720" rIns="91440" bIns="45720" numCol="1" anchor="t" anchorCtr="0" compatLnSpc="1">
                <a:prstTxWarp prst="textNoShape">
                  <a:avLst/>
                </a:prstTxWarp>
              </a:bodyPr>
              <a:lstStyle/>
              <a:p>
                <a:pPr algn="ctr" fontAlgn="base">
                  <a:spcBef>
                    <a:spcPct val="50000"/>
                  </a:spcBef>
                  <a:spcAft>
                    <a:spcPct val="0"/>
                  </a:spcAft>
                </a:pPr>
                <a:endParaRPr lang="en-US" sz="1400">
                  <a:solidFill>
                    <a:srgbClr val="59452A"/>
                  </a:solidFill>
                  <a:latin typeface="Trebuchet MS" pitchFamily="34" charset="0"/>
                  <a:cs typeface="Arial" charset="0"/>
                </a:endParaRPr>
              </a:p>
            </p:txBody>
          </p:sp>
        </p:grpSp>
        <p:sp>
          <p:nvSpPr>
            <p:cNvPr id="1077" name="Rectangle 5"/>
            <p:cNvSpPr>
              <a:spLocks noChangeArrowheads="1"/>
            </p:cNvSpPr>
            <p:nvPr>
              <p:custDataLst>
                <p:tags r:id="rId79"/>
              </p:custDataLst>
            </p:nvPr>
          </p:nvSpPr>
          <p:spPr bwMode="gray">
            <a:xfrm>
              <a:off x="5922147" y="5925835"/>
              <a:ext cx="1943100" cy="330200"/>
            </a:xfrm>
            <a:prstGeom prst="roundRect">
              <a:avLst/>
            </a:prstGeom>
            <a:noFill/>
            <a:ln w="38100" algn="ctr">
              <a:solidFill>
                <a:schemeClr val="bg1"/>
              </a:solidFill>
              <a:miter lim="800000"/>
              <a:headEnd/>
              <a:tailEnd/>
            </a:ln>
            <a:effectLst/>
          </p:spPr>
          <p:txBody>
            <a:bodyPr lIns="0" tIns="0" rIns="0" bIns="0" anchor="ctr" anchorCtr="0"/>
            <a:lstStyle/>
            <a:p>
              <a:pPr algn="ctr" eaLnBrk="0" fontAlgn="base" hangingPunct="0">
                <a:buClr>
                  <a:srgbClr val="9F1B29"/>
                </a:buClr>
                <a:buSzPct val="100000"/>
                <a:buFont typeface="Wingdings"/>
                <a:buNone/>
              </a:pPr>
              <a:r>
                <a:rPr lang="en-US" sz="1000" b="1" dirty="0" smtClean="0">
                  <a:solidFill>
                    <a:srgbClr val="FFFFFF"/>
                  </a:solidFill>
                  <a:latin typeface="Gill Sans MT" pitchFamily="34" charset="0"/>
                  <a:cs typeface="Arial" charset="0"/>
                </a:rPr>
                <a:t>ENABLING PARTNER ENVIRONMENT</a:t>
              </a:r>
            </a:p>
          </p:txBody>
        </p:sp>
        <p:pic>
          <p:nvPicPr>
            <p:cNvPr id="1078" name="Picture 2" descr="https://encrypted-tbn1.google.com/images?q=tbn:ANd9GcQ2iDgw2b5ZvUXP-l4Qh60g3Q0yQgF2uKGxP2r60bac0hT5CFlVgw"/>
            <p:cNvPicPr>
              <a:picLocks noChangeAspect="1" noChangeArrowheads="1"/>
            </p:cNvPicPr>
            <p:nvPr>
              <p:custDataLst>
                <p:tags r:id="rId80"/>
              </p:custDataLst>
            </p:nvPr>
          </p:nvPicPr>
          <p:blipFill>
            <a:blip r:embed="rId596" cstate="print">
              <a:clrChange>
                <a:clrFrom>
                  <a:srgbClr val="FFFFFF"/>
                </a:clrFrom>
                <a:clrTo>
                  <a:srgbClr val="FFFFFF">
                    <a:alpha val="0"/>
                  </a:srgbClr>
                </a:clrTo>
              </a:clrChange>
              <a:duotone>
                <a:schemeClr val="accent5">
                  <a:shade val="45000"/>
                  <a:satMod val="135000"/>
                </a:schemeClr>
                <a:prstClr val="white"/>
              </a:duotone>
              <a:lum contrast="40000"/>
              <a:extLst>
                <a:ext uri="{BEBA8EAE-BF5A-486C-A8C5-ECC9F3942E4B}">
                  <a14:imgProps xmlns:a14="http://schemas.microsoft.com/office/drawing/2010/main">
                    <a14:imgLayer r:embed="rId597">
                      <a14:imgEffect>
                        <a14:sharpenSoften amount="50000"/>
                      </a14:imgEffect>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964222" y="1524068"/>
              <a:ext cx="361838" cy="357726"/>
            </a:xfrm>
            <a:prstGeom prst="rect">
              <a:avLst/>
            </a:prstGeom>
            <a:extLst>
              <a:ext uri="{909E8E84-426E-40DD-AFC4-6F175D3DCCD1}">
                <a14:hiddenFill xmlns:a14="http://schemas.microsoft.com/office/drawing/2010/main">
                  <a:solidFill>
                    <a:srgbClr val="FFFFFF"/>
                  </a:solidFill>
                </a14:hiddenFill>
              </a:ext>
            </a:extLst>
          </p:spPr>
        </p:pic>
        <p:pic>
          <p:nvPicPr>
            <p:cNvPr id="1079" name="Picture 3"/>
            <p:cNvPicPr>
              <a:picLocks noChangeAspect="1" noChangeArrowheads="1"/>
            </p:cNvPicPr>
            <p:nvPr>
              <p:custDataLst>
                <p:tags r:id="rId81"/>
              </p:custDataLst>
            </p:nvPr>
          </p:nvPicPr>
          <p:blipFill>
            <a:blip r:embed="rId598" cstate="print"/>
            <a:srcRect/>
            <a:stretch>
              <a:fillRect/>
            </a:stretch>
          </p:blipFill>
          <p:spPr bwMode="auto">
            <a:xfrm>
              <a:off x="3169859" y="2105464"/>
              <a:ext cx="337617" cy="253031"/>
            </a:xfrm>
            <a:prstGeom prst="rect">
              <a:avLst/>
            </a:prstGeom>
            <a:noFill/>
            <a:ln w="9525" algn="ctr">
              <a:noFill/>
              <a:miter lim="800000"/>
              <a:headEnd type="none" w="lg" len="lg"/>
              <a:tailEnd type="none" w="lg" len="lg"/>
            </a:ln>
            <a:effectLst/>
          </p:spPr>
        </p:pic>
      </p:grpSp>
      <p:sp>
        <p:nvSpPr>
          <p:cNvPr id="860" name="TextBox 859"/>
          <p:cNvSpPr txBox="1"/>
          <p:nvPr/>
        </p:nvSpPr>
        <p:spPr>
          <a:xfrm>
            <a:off x="7595011" y="6486647"/>
            <a:ext cx="1480816" cy="226626"/>
          </a:xfrm>
          <a:prstGeom prst="rect">
            <a:avLst/>
          </a:prstGeom>
          <a:noFill/>
          <a:ln>
            <a:noFill/>
          </a:ln>
        </p:spPr>
        <p:txBody>
          <a:bodyPr wrap="square" rtlCol="0">
            <a:noAutofit/>
          </a:bodyPr>
          <a:lstStyle/>
          <a:p>
            <a:pPr fontAlgn="base">
              <a:spcAft>
                <a:spcPct val="0"/>
              </a:spcAft>
            </a:pPr>
            <a:r>
              <a:rPr lang="en-US" sz="1000" b="1" dirty="0" smtClean="0">
                <a:solidFill>
                  <a:srgbClr val="59452A"/>
                </a:solidFill>
                <a:cs typeface="Arial" pitchFamily="34" charset="0"/>
              </a:rPr>
              <a:t>Courtesy of BMGF</a:t>
            </a:r>
          </a:p>
        </p:txBody>
      </p:sp>
      <p:sp>
        <p:nvSpPr>
          <p:cNvPr id="909" name="Rectangle 2"/>
          <p:cNvSpPr>
            <a:spLocks noGrp="1" noChangeArrowheads="1"/>
          </p:cNvSpPr>
          <p:nvPr>
            <p:ph type="title"/>
          </p:nvPr>
        </p:nvSpPr>
        <p:spPr>
          <a:xfrm>
            <a:off x="228600" y="110196"/>
            <a:ext cx="8915400" cy="838200"/>
          </a:xfrm>
        </p:spPr>
        <p:txBody>
          <a:bodyPr>
            <a:normAutofit/>
          </a:bodyPr>
          <a:lstStyle/>
          <a:p>
            <a:r>
              <a:rPr lang="en-US" sz="3300" b="1" dirty="0" smtClean="0">
                <a:solidFill>
                  <a:srgbClr val="984807"/>
                </a:solidFill>
              </a:rPr>
              <a:t>What is the Routine Immunization System?</a:t>
            </a:r>
            <a:endParaRPr lang="en-US" sz="3800" b="1" dirty="0">
              <a:solidFill>
                <a:srgbClr val="984807"/>
              </a:solidFill>
            </a:endParaRPr>
          </a:p>
        </p:txBody>
      </p:sp>
    </p:spTree>
    <p:extLst>
      <p:ext uri="{BB962C8B-B14F-4D97-AF65-F5344CB8AC3E}">
        <p14:creationId xmlns:p14="http://schemas.microsoft.com/office/powerpoint/2010/main" val="47968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9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53" presetClass="entr" presetSubtype="0" fill="hold" grpId="0" nodeType="clickEffect">
                                  <p:stCondLst>
                                    <p:cond delay="0"/>
                                  </p:stCondLst>
                                  <p:childTnLst>
                                    <p:set>
                                      <p:cBhvr>
                                        <p:cTn id="30" dur="1" fill="hold">
                                          <p:stCondLst>
                                            <p:cond delay="0"/>
                                          </p:stCondLst>
                                        </p:cTn>
                                        <p:tgtEl>
                                          <p:spTgt spid="1001"/>
                                        </p:tgtEl>
                                        <p:attrNameLst>
                                          <p:attrName>style.visibility</p:attrName>
                                        </p:attrNameLst>
                                      </p:cBhvr>
                                      <p:to>
                                        <p:strVal val="visible"/>
                                      </p:to>
                                    </p:set>
                                    <p:anim calcmode="lin" valueType="num">
                                      <p:cBhvr>
                                        <p:cTn id="31" dur="500" fill="hold"/>
                                        <p:tgtEl>
                                          <p:spTgt spid="1001"/>
                                        </p:tgtEl>
                                        <p:attrNameLst>
                                          <p:attrName>ppt_w</p:attrName>
                                        </p:attrNameLst>
                                      </p:cBhvr>
                                      <p:tavLst>
                                        <p:tav tm="0">
                                          <p:val>
                                            <p:fltVal val="0"/>
                                          </p:val>
                                        </p:tav>
                                        <p:tav tm="100000">
                                          <p:val>
                                            <p:strVal val="#ppt_w"/>
                                          </p:val>
                                        </p:tav>
                                      </p:tavLst>
                                    </p:anim>
                                    <p:anim calcmode="lin" valueType="num">
                                      <p:cBhvr>
                                        <p:cTn id="32" dur="500" fill="hold"/>
                                        <p:tgtEl>
                                          <p:spTgt spid="1001"/>
                                        </p:tgtEl>
                                        <p:attrNameLst>
                                          <p:attrName>ppt_h</p:attrName>
                                        </p:attrNameLst>
                                      </p:cBhvr>
                                      <p:tavLst>
                                        <p:tav tm="0">
                                          <p:val>
                                            <p:fltVal val="0"/>
                                          </p:val>
                                        </p:tav>
                                        <p:tav tm="100000">
                                          <p:val>
                                            <p:strVal val="#ppt_h"/>
                                          </p:val>
                                        </p:tav>
                                      </p:tavLst>
                                    </p:anim>
                                    <p:animEffect transition="in" filter="fade">
                                      <p:cBhvr>
                                        <p:cTn id="33" dur="500"/>
                                        <p:tgtEl>
                                          <p:spTgt spid="1001"/>
                                        </p:tgtEl>
                                      </p:cBhvr>
                                    </p:animEffect>
                                  </p:childTnLst>
                                </p:cTn>
                              </p:par>
                              <p:par>
                                <p:cTn id="34" presetID="53" presetClass="entr" presetSubtype="0" fill="hold" grpId="0" nodeType="withEffect">
                                  <p:stCondLst>
                                    <p:cond delay="0"/>
                                  </p:stCondLst>
                                  <p:childTnLst>
                                    <p:set>
                                      <p:cBhvr>
                                        <p:cTn id="35" dur="1" fill="hold">
                                          <p:stCondLst>
                                            <p:cond delay="0"/>
                                          </p:stCondLst>
                                        </p:cTn>
                                        <p:tgtEl>
                                          <p:spTgt spid="1002"/>
                                        </p:tgtEl>
                                        <p:attrNameLst>
                                          <p:attrName>style.visibility</p:attrName>
                                        </p:attrNameLst>
                                      </p:cBhvr>
                                      <p:to>
                                        <p:strVal val="visible"/>
                                      </p:to>
                                    </p:set>
                                    <p:anim calcmode="lin" valueType="num">
                                      <p:cBhvr>
                                        <p:cTn id="36" dur="500" fill="hold"/>
                                        <p:tgtEl>
                                          <p:spTgt spid="1002"/>
                                        </p:tgtEl>
                                        <p:attrNameLst>
                                          <p:attrName>ppt_w</p:attrName>
                                        </p:attrNameLst>
                                      </p:cBhvr>
                                      <p:tavLst>
                                        <p:tav tm="0">
                                          <p:val>
                                            <p:fltVal val="0"/>
                                          </p:val>
                                        </p:tav>
                                        <p:tav tm="100000">
                                          <p:val>
                                            <p:strVal val="#ppt_w"/>
                                          </p:val>
                                        </p:tav>
                                      </p:tavLst>
                                    </p:anim>
                                    <p:anim calcmode="lin" valueType="num">
                                      <p:cBhvr>
                                        <p:cTn id="37" dur="500" fill="hold"/>
                                        <p:tgtEl>
                                          <p:spTgt spid="1002"/>
                                        </p:tgtEl>
                                        <p:attrNameLst>
                                          <p:attrName>ppt_h</p:attrName>
                                        </p:attrNameLst>
                                      </p:cBhvr>
                                      <p:tavLst>
                                        <p:tav tm="0">
                                          <p:val>
                                            <p:fltVal val="0"/>
                                          </p:val>
                                        </p:tav>
                                        <p:tav tm="100000">
                                          <p:val>
                                            <p:strVal val="#ppt_h"/>
                                          </p:val>
                                        </p:tav>
                                      </p:tavLst>
                                    </p:anim>
                                    <p:animEffect transition="in" filter="fade">
                                      <p:cBhvr>
                                        <p:cTn id="38" dur="500"/>
                                        <p:tgtEl>
                                          <p:spTgt spid="1002"/>
                                        </p:tgtEl>
                                      </p:cBhvr>
                                    </p:animEffect>
                                  </p:childTnLst>
                                </p:cTn>
                              </p:par>
                            </p:childTnLst>
                          </p:cTn>
                        </p:par>
                      </p:childTnLst>
                    </p:cTn>
                  </p:par>
                  <p:par>
                    <p:cTn id="39" fill="hold">
                      <p:stCondLst>
                        <p:cond delay="indefinite"/>
                      </p:stCondLst>
                      <p:childTnLst>
                        <p:par>
                          <p:cTn id="40" fill="hold">
                            <p:stCondLst>
                              <p:cond delay="0"/>
                            </p:stCondLst>
                            <p:childTnLst>
                              <p:par>
                                <p:cTn id="41" presetID="53" presetClass="entr" presetSubtype="0" fill="hold" grpId="0" nodeType="clickEffect">
                                  <p:stCondLst>
                                    <p:cond delay="0"/>
                                  </p:stCondLst>
                                  <p:childTnLst>
                                    <p:set>
                                      <p:cBhvr>
                                        <p:cTn id="42" dur="1" fill="hold">
                                          <p:stCondLst>
                                            <p:cond delay="0"/>
                                          </p:stCondLst>
                                        </p:cTn>
                                        <p:tgtEl>
                                          <p:spTgt spid="1003"/>
                                        </p:tgtEl>
                                        <p:attrNameLst>
                                          <p:attrName>style.visibility</p:attrName>
                                        </p:attrNameLst>
                                      </p:cBhvr>
                                      <p:to>
                                        <p:strVal val="visible"/>
                                      </p:to>
                                    </p:set>
                                    <p:anim calcmode="lin" valueType="num">
                                      <p:cBhvr>
                                        <p:cTn id="43" dur="500" fill="hold"/>
                                        <p:tgtEl>
                                          <p:spTgt spid="1003"/>
                                        </p:tgtEl>
                                        <p:attrNameLst>
                                          <p:attrName>ppt_w</p:attrName>
                                        </p:attrNameLst>
                                      </p:cBhvr>
                                      <p:tavLst>
                                        <p:tav tm="0">
                                          <p:val>
                                            <p:fltVal val="0"/>
                                          </p:val>
                                        </p:tav>
                                        <p:tav tm="100000">
                                          <p:val>
                                            <p:strVal val="#ppt_w"/>
                                          </p:val>
                                        </p:tav>
                                      </p:tavLst>
                                    </p:anim>
                                    <p:anim calcmode="lin" valueType="num">
                                      <p:cBhvr>
                                        <p:cTn id="44" dur="500" fill="hold"/>
                                        <p:tgtEl>
                                          <p:spTgt spid="1003"/>
                                        </p:tgtEl>
                                        <p:attrNameLst>
                                          <p:attrName>ppt_h</p:attrName>
                                        </p:attrNameLst>
                                      </p:cBhvr>
                                      <p:tavLst>
                                        <p:tav tm="0">
                                          <p:val>
                                            <p:fltVal val="0"/>
                                          </p:val>
                                        </p:tav>
                                        <p:tav tm="100000">
                                          <p:val>
                                            <p:strVal val="#ppt_h"/>
                                          </p:val>
                                        </p:tav>
                                      </p:tavLst>
                                    </p:anim>
                                    <p:animEffect transition="in" filter="fade">
                                      <p:cBhvr>
                                        <p:cTn id="45" dur="500"/>
                                        <p:tgtEl>
                                          <p:spTgt spid="1003"/>
                                        </p:tgtEl>
                                      </p:cBhvr>
                                    </p:animEffect>
                                  </p:childTnLst>
                                </p:cTn>
                              </p:par>
                              <p:par>
                                <p:cTn id="46" presetID="53" presetClass="entr" presetSubtype="0" fill="hold" grpId="0" nodeType="withEffect">
                                  <p:stCondLst>
                                    <p:cond delay="0"/>
                                  </p:stCondLst>
                                  <p:childTnLst>
                                    <p:set>
                                      <p:cBhvr>
                                        <p:cTn id="47" dur="1" fill="hold">
                                          <p:stCondLst>
                                            <p:cond delay="0"/>
                                          </p:stCondLst>
                                        </p:cTn>
                                        <p:tgtEl>
                                          <p:spTgt spid="1004"/>
                                        </p:tgtEl>
                                        <p:attrNameLst>
                                          <p:attrName>style.visibility</p:attrName>
                                        </p:attrNameLst>
                                      </p:cBhvr>
                                      <p:to>
                                        <p:strVal val="visible"/>
                                      </p:to>
                                    </p:set>
                                    <p:anim calcmode="lin" valueType="num">
                                      <p:cBhvr>
                                        <p:cTn id="48" dur="500" fill="hold"/>
                                        <p:tgtEl>
                                          <p:spTgt spid="1004"/>
                                        </p:tgtEl>
                                        <p:attrNameLst>
                                          <p:attrName>ppt_w</p:attrName>
                                        </p:attrNameLst>
                                      </p:cBhvr>
                                      <p:tavLst>
                                        <p:tav tm="0">
                                          <p:val>
                                            <p:fltVal val="0"/>
                                          </p:val>
                                        </p:tav>
                                        <p:tav tm="100000">
                                          <p:val>
                                            <p:strVal val="#ppt_w"/>
                                          </p:val>
                                        </p:tav>
                                      </p:tavLst>
                                    </p:anim>
                                    <p:anim calcmode="lin" valueType="num">
                                      <p:cBhvr>
                                        <p:cTn id="49" dur="500" fill="hold"/>
                                        <p:tgtEl>
                                          <p:spTgt spid="1004"/>
                                        </p:tgtEl>
                                        <p:attrNameLst>
                                          <p:attrName>ppt_h</p:attrName>
                                        </p:attrNameLst>
                                      </p:cBhvr>
                                      <p:tavLst>
                                        <p:tav tm="0">
                                          <p:val>
                                            <p:fltVal val="0"/>
                                          </p:val>
                                        </p:tav>
                                        <p:tav tm="100000">
                                          <p:val>
                                            <p:strVal val="#ppt_h"/>
                                          </p:val>
                                        </p:tav>
                                      </p:tavLst>
                                    </p:anim>
                                    <p:animEffect transition="in" filter="fade">
                                      <p:cBhvr>
                                        <p:cTn id="50" dur="500"/>
                                        <p:tgtEl>
                                          <p:spTgt spid="1004"/>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ntr" presetSubtype="0" fill="hold" grpId="0" nodeType="clickEffect">
                                  <p:stCondLst>
                                    <p:cond delay="0"/>
                                  </p:stCondLst>
                                  <p:childTnLst>
                                    <p:set>
                                      <p:cBhvr>
                                        <p:cTn id="54" dur="1" fill="hold">
                                          <p:stCondLst>
                                            <p:cond delay="0"/>
                                          </p:stCondLst>
                                        </p:cTn>
                                        <p:tgtEl>
                                          <p:spTgt spid="1012"/>
                                        </p:tgtEl>
                                        <p:attrNameLst>
                                          <p:attrName>style.visibility</p:attrName>
                                        </p:attrNameLst>
                                      </p:cBhvr>
                                      <p:to>
                                        <p:strVal val="visible"/>
                                      </p:to>
                                    </p:set>
                                    <p:anim calcmode="lin" valueType="num">
                                      <p:cBhvr>
                                        <p:cTn id="55" dur="500" fill="hold"/>
                                        <p:tgtEl>
                                          <p:spTgt spid="1012"/>
                                        </p:tgtEl>
                                        <p:attrNameLst>
                                          <p:attrName>ppt_w</p:attrName>
                                        </p:attrNameLst>
                                      </p:cBhvr>
                                      <p:tavLst>
                                        <p:tav tm="0">
                                          <p:val>
                                            <p:fltVal val="0"/>
                                          </p:val>
                                        </p:tav>
                                        <p:tav tm="100000">
                                          <p:val>
                                            <p:strVal val="#ppt_w"/>
                                          </p:val>
                                        </p:tav>
                                      </p:tavLst>
                                    </p:anim>
                                    <p:anim calcmode="lin" valueType="num">
                                      <p:cBhvr>
                                        <p:cTn id="56" dur="500" fill="hold"/>
                                        <p:tgtEl>
                                          <p:spTgt spid="1012"/>
                                        </p:tgtEl>
                                        <p:attrNameLst>
                                          <p:attrName>ppt_h</p:attrName>
                                        </p:attrNameLst>
                                      </p:cBhvr>
                                      <p:tavLst>
                                        <p:tav tm="0">
                                          <p:val>
                                            <p:fltVal val="0"/>
                                          </p:val>
                                        </p:tav>
                                        <p:tav tm="100000">
                                          <p:val>
                                            <p:strVal val="#ppt_h"/>
                                          </p:val>
                                        </p:tav>
                                      </p:tavLst>
                                    </p:anim>
                                    <p:animEffect transition="in" filter="fade">
                                      <p:cBhvr>
                                        <p:cTn id="57" dur="500"/>
                                        <p:tgtEl>
                                          <p:spTgt spid="1012"/>
                                        </p:tgtEl>
                                      </p:cBhvr>
                                    </p:animEffect>
                                  </p:childTnLst>
                                </p:cTn>
                              </p:par>
                              <p:par>
                                <p:cTn id="58" presetID="53" presetClass="entr" presetSubtype="0" fill="hold" grpId="0" nodeType="withEffect">
                                  <p:stCondLst>
                                    <p:cond delay="0"/>
                                  </p:stCondLst>
                                  <p:childTnLst>
                                    <p:set>
                                      <p:cBhvr>
                                        <p:cTn id="59" dur="1" fill="hold">
                                          <p:stCondLst>
                                            <p:cond delay="0"/>
                                          </p:stCondLst>
                                        </p:cTn>
                                        <p:tgtEl>
                                          <p:spTgt spid="1013"/>
                                        </p:tgtEl>
                                        <p:attrNameLst>
                                          <p:attrName>style.visibility</p:attrName>
                                        </p:attrNameLst>
                                      </p:cBhvr>
                                      <p:to>
                                        <p:strVal val="visible"/>
                                      </p:to>
                                    </p:set>
                                    <p:anim calcmode="lin" valueType="num">
                                      <p:cBhvr>
                                        <p:cTn id="60" dur="500" fill="hold"/>
                                        <p:tgtEl>
                                          <p:spTgt spid="1013"/>
                                        </p:tgtEl>
                                        <p:attrNameLst>
                                          <p:attrName>ppt_w</p:attrName>
                                        </p:attrNameLst>
                                      </p:cBhvr>
                                      <p:tavLst>
                                        <p:tav tm="0">
                                          <p:val>
                                            <p:fltVal val="0"/>
                                          </p:val>
                                        </p:tav>
                                        <p:tav tm="100000">
                                          <p:val>
                                            <p:strVal val="#ppt_w"/>
                                          </p:val>
                                        </p:tav>
                                      </p:tavLst>
                                    </p:anim>
                                    <p:anim calcmode="lin" valueType="num">
                                      <p:cBhvr>
                                        <p:cTn id="61" dur="500" fill="hold"/>
                                        <p:tgtEl>
                                          <p:spTgt spid="1013"/>
                                        </p:tgtEl>
                                        <p:attrNameLst>
                                          <p:attrName>ppt_h</p:attrName>
                                        </p:attrNameLst>
                                      </p:cBhvr>
                                      <p:tavLst>
                                        <p:tav tm="0">
                                          <p:val>
                                            <p:fltVal val="0"/>
                                          </p:val>
                                        </p:tav>
                                        <p:tav tm="100000">
                                          <p:val>
                                            <p:strVal val="#ppt_h"/>
                                          </p:val>
                                        </p:tav>
                                      </p:tavLst>
                                    </p:anim>
                                    <p:animEffect transition="in" filter="fade">
                                      <p:cBhvr>
                                        <p:cTn id="62" dur="500"/>
                                        <p:tgtEl>
                                          <p:spTgt spid="1013"/>
                                        </p:tgtEl>
                                      </p:cBhvr>
                                    </p:animEffect>
                                  </p:childTnLst>
                                </p:cTn>
                              </p:par>
                            </p:childTnLst>
                          </p:cTn>
                        </p:par>
                      </p:childTnLst>
                    </p:cTn>
                  </p:par>
                  <p:par>
                    <p:cTn id="63" fill="hold">
                      <p:stCondLst>
                        <p:cond delay="indefinite"/>
                      </p:stCondLst>
                      <p:childTnLst>
                        <p:par>
                          <p:cTn id="64" fill="hold">
                            <p:stCondLst>
                              <p:cond delay="0"/>
                            </p:stCondLst>
                            <p:childTnLst>
                              <p:par>
                                <p:cTn id="65" presetID="53" presetClass="entr" presetSubtype="0" fill="hold" grpId="0" nodeType="clickEffect">
                                  <p:stCondLst>
                                    <p:cond delay="0"/>
                                  </p:stCondLst>
                                  <p:childTnLst>
                                    <p:set>
                                      <p:cBhvr>
                                        <p:cTn id="66" dur="1" fill="hold">
                                          <p:stCondLst>
                                            <p:cond delay="0"/>
                                          </p:stCondLst>
                                        </p:cTn>
                                        <p:tgtEl>
                                          <p:spTgt spid="1011"/>
                                        </p:tgtEl>
                                        <p:attrNameLst>
                                          <p:attrName>style.visibility</p:attrName>
                                        </p:attrNameLst>
                                      </p:cBhvr>
                                      <p:to>
                                        <p:strVal val="visible"/>
                                      </p:to>
                                    </p:set>
                                    <p:anim calcmode="lin" valueType="num">
                                      <p:cBhvr>
                                        <p:cTn id="67" dur="500" fill="hold"/>
                                        <p:tgtEl>
                                          <p:spTgt spid="1011"/>
                                        </p:tgtEl>
                                        <p:attrNameLst>
                                          <p:attrName>ppt_w</p:attrName>
                                        </p:attrNameLst>
                                      </p:cBhvr>
                                      <p:tavLst>
                                        <p:tav tm="0">
                                          <p:val>
                                            <p:fltVal val="0"/>
                                          </p:val>
                                        </p:tav>
                                        <p:tav tm="100000">
                                          <p:val>
                                            <p:strVal val="#ppt_w"/>
                                          </p:val>
                                        </p:tav>
                                      </p:tavLst>
                                    </p:anim>
                                    <p:anim calcmode="lin" valueType="num">
                                      <p:cBhvr>
                                        <p:cTn id="68" dur="500" fill="hold"/>
                                        <p:tgtEl>
                                          <p:spTgt spid="1011"/>
                                        </p:tgtEl>
                                        <p:attrNameLst>
                                          <p:attrName>ppt_h</p:attrName>
                                        </p:attrNameLst>
                                      </p:cBhvr>
                                      <p:tavLst>
                                        <p:tav tm="0">
                                          <p:val>
                                            <p:fltVal val="0"/>
                                          </p:val>
                                        </p:tav>
                                        <p:tav tm="100000">
                                          <p:val>
                                            <p:strVal val="#ppt_h"/>
                                          </p:val>
                                        </p:tav>
                                      </p:tavLst>
                                    </p:anim>
                                    <p:animEffect transition="in" filter="fade">
                                      <p:cBhvr>
                                        <p:cTn id="69" dur="500"/>
                                        <p:tgtEl>
                                          <p:spTgt spid="1011"/>
                                        </p:tgtEl>
                                      </p:cBhvr>
                                    </p:animEffect>
                                  </p:childTnLst>
                                </p:cTn>
                              </p:par>
                              <p:par>
                                <p:cTn id="70" presetID="53" presetClass="entr" presetSubtype="0" fill="hold" grpId="0" nodeType="withEffect">
                                  <p:stCondLst>
                                    <p:cond delay="0"/>
                                  </p:stCondLst>
                                  <p:childTnLst>
                                    <p:set>
                                      <p:cBhvr>
                                        <p:cTn id="71" dur="1" fill="hold">
                                          <p:stCondLst>
                                            <p:cond delay="0"/>
                                          </p:stCondLst>
                                        </p:cTn>
                                        <p:tgtEl>
                                          <p:spTgt spid="1005"/>
                                        </p:tgtEl>
                                        <p:attrNameLst>
                                          <p:attrName>style.visibility</p:attrName>
                                        </p:attrNameLst>
                                      </p:cBhvr>
                                      <p:to>
                                        <p:strVal val="visible"/>
                                      </p:to>
                                    </p:set>
                                    <p:anim calcmode="lin" valueType="num">
                                      <p:cBhvr>
                                        <p:cTn id="72" dur="500" fill="hold"/>
                                        <p:tgtEl>
                                          <p:spTgt spid="1005"/>
                                        </p:tgtEl>
                                        <p:attrNameLst>
                                          <p:attrName>ppt_w</p:attrName>
                                        </p:attrNameLst>
                                      </p:cBhvr>
                                      <p:tavLst>
                                        <p:tav tm="0">
                                          <p:val>
                                            <p:fltVal val="0"/>
                                          </p:val>
                                        </p:tav>
                                        <p:tav tm="100000">
                                          <p:val>
                                            <p:strVal val="#ppt_w"/>
                                          </p:val>
                                        </p:tav>
                                      </p:tavLst>
                                    </p:anim>
                                    <p:anim calcmode="lin" valueType="num">
                                      <p:cBhvr>
                                        <p:cTn id="73" dur="500" fill="hold"/>
                                        <p:tgtEl>
                                          <p:spTgt spid="1005"/>
                                        </p:tgtEl>
                                        <p:attrNameLst>
                                          <p:attrName>ppt_h</p:attrName>
                                        </p:attrNameLst>
                                      </p:cBhvr>
                                      <p:tavLst>
                                        <p:tav tm="0">
                                          <p:val>
                                            <p:fltVal val="0"/>
                                          </p:val>
                                        </p:tav>
                                        <p:tav tm="100000">
                                          <p:val>
                                            <p:strVal val="#ppt_h"/>
                                          </p:val>
                                        </p:tav>
                                      </p:tavLst>
                                    </p:anim>
                                    <p:animEffect transition="in" filter="fade">
                                      <p:cBhvr>
                                        <p:cTn id="74" dur="500"/>
                                        <p:tgtEl>
                                          <p:spTgt spid="1005"/>
                                        </p:tgtEl>
                                      </p:cBhvr>
                                    </p:animEffect>
                                  </p:childTnLst>
                                </p:cTn>
                              </p:par>
                            </p:childTnLst>
                          </p:cTn>
                        </p:par>
                      </p:childTnLst>
                    </p:cTn>
                  </p:par>
                  <p:par>
                    <p:cTn id="75" fill="hold">
                      <p:stCondLst>
                        <p:cond delay="indefinite"/>
                      </p:stCondLst>
                      <p:childTnLst>
                        <p:par>
                          <p:cTn id="76" fill="hold">
                            <p:stCondLst>
                              <p:cond delay="0"/>
                            </p:stCondLst>
                            <p:childTnLst>
                              <p:par>
                                <p:cTn id="77" presetID="53" presetClass="entr" presetSubtype="0" fill="hold" grpId="0" nodeType="clickEffect">
                                  <p:stCondLst>
                                    <p:cond delay="0"/>
                                  </p:stCondLst>
                                  <p:childTnLst>
                                    <p:set>
                                      <p:cBhvr>
                                        <p:cTn id="78" dur="1" fill="hold">
                                          <p:stCondLst>
                                            <p:cond delay="0"/>
                                          </p:stCondLst>
                                        </p:cTn>
                                        <p:tgtEl>
                                          <p:spTgt spid="1010"/>
                                        </p:tgtEl>
                                        <p:attrNameLst>
                                          <p:attrName>style.visibility</p:attrName>
                                        </p:attrNameLst>
                                      </p:cBhvr>
                                      <p:to>
                                        <p:strVal val="visible"/>
                                      </p:to>
                                    </p:set>
                                    <p:anim calcmode="lin" valueType="num">
                                      <p:cBhvr>
                                        <p:cTn id="79" dur="500" fill="hold"/>
                                        <p:tgtEl>
                                          <p:spTgt spid="1010"/>
                                        </p:tgtEl>
                                        <p:attrNameLst>
                                          <p:attrName>ppt_w</p:attrName>
                                        </p:attrNameLst>
                                      </p:cBhvr>
                                      <p:tavLst>
                                        <p:tav tm="0">
                                          <p:val>
                                            <p:fltVal val="0"/>
                                          </p:val>
                                        </p:tav>
                                        <p:tav tm="100000">
                                          <p:val>
                                            <p:strVal val="#ppt_w"/>
                                          </p:val>
                                        </p:tav>
                                      </p:tavLst>
                                    </p:anim>
                                    <p:anim calcmode="lin" valueType="num">
                                      <p:cBhvr>
                                        <p:cTn id="80" dur="500" fill="hold"/>
                                        <p:tgtEl>
                                          <p:spTgt spid="1010"/>
                                        </p:tgtEl>
                                        <p:attrNameLst>
                                          <p:attrName>ppt_h</p:attrName>
                                        </p:attrNameLst>
                                      </p:cBhvr>
                                      <p:tavLst>
                                        <p:tav tm="0">
                                          <p:val>
                                            <p:fltVal val="0"/>
                                          </p:val>
                                        </p:tav>
                                        <p:tav tm="100000">
                                          <p:val>
                                            <p:strVal val="#ppt_h"/>
                                          </p:val>
                                        </p:tav>
                                      </p:tavLst>
                                    </p:anim>
                                    <p:animEffect transition="in" filter="fade">
                                      <p:cBhvr>
                                        <p:cTn id="81" dur="500"/>
                                        <p:tgtEl>
                                          <p:spTgt spid="1010"/>
                                        </p:tgtEl>
                                      </p:cBhvr>
                                    </p:animEffect>
                                  </p:childTnLst>
                                </p:cTn>
                              </p:par>
                              <p:par>
                                <p:cTn id="82" presetID="53" presetClass="entr" presetSubtype="0" fill="hold" grpId="0" nodeType="withEffect">
                                  <p:stCondLst>
                                    <p:cond delay="0"/>
                                  </p:stCondLst>
                                  <p:childTnLst>
                                    <p:set>
                                      <p:cBhvr>
                                        <p:cTn id="83" dur="1" fill="hold">
                                          <p:stCondLst>
                                            <p:cond delay="0"/>
                                          </p:stCondLst>
                                        </p:cTn>
                                        <p:tgtEl>
                                          <p:spTgt spid="1009"/>
                                        </p:tgtEl>
                                        <p:attrNameLst>
                                          <p:attrName>style.visibility</p:attrName>
                                        </p:attrNameLst>
                                      </p:cBhvr>
                                      <p:to>
                                        <p:strVal val="visible"/>
                                      </p:to>
                                    </p:set>
                                    <p:anim calcmode="lin" valueType="num">
                                      <p:cBhvr>
                                        <p:cTn id="84" dur="500" fill="hold"/>
                                        <p:tgtEl>
                                          <p:spTgt spid="1009"/>
                                        </p:tgtEl>
                                        <p:attrNameLst>
                                          <p:attrName>ppt_w</p:attrName>
                                        </p:attrNameLst>
                                      </p:cBhvr>
                                      <p:tavLst>
                                        <p:tav tm="0">
                                          <p:val>
                                            <p:fltVal val="0"/>
                                          </p:val>
                                        </p:tav>
                                        <p:tav tm="100000">
                                          <p:val>
                                            <p:strVal val="#ppt_w"/>
                                          </p:val>
                                        </p:tav>
                                      </p:tavLst>
                                    </p:anim>
                                    <p:anim calcmode="lin" valueType="num">
                                      <p:cBhvr>
                                        <p:cTn id="85" dur="500" fill="hold"/>
                                        <p:tgtEl>
                                          <p:spTgt spid="1009"/>
                                        </p:tgtEl>
                                        <p:attrNameLst>
                                          <p:attrName>ppt_h</p:attrName>
                                        </p:attrNameLst>
                                      </p:cBhvr>
                                      <p:tavLst>
                                        <p:tav tm="0">
                                          <p:val>
                                            <p:fltVal val="0"/>
                                          </p:val>
                                        </p:tav>
                                        <p:tav tm="100000">
                                          <p:val>
                                            <p:strVal val="#ppt_h"/>
                                          </p:val>
                                        </p:tav>
                                      </p:tavLst>
                                    </p:anim>
                                    <p:animEffect transition="in" filter="fade">
                                      <p:cBhvr>
                                        <p:cTn id="86" dur="500"/>
                                        <p:tgtEl>
                                          <p:spTgt spid="1009"/>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0" fill="hold" nodeType="clickEffect">
                                  <p:stCondLst>
                                    <p:cond delay="0"/>
                                  </p:stCondLst>
                                  <p:childTnLst>
                                    <p:set>
                                      <p:cBhvr>
                                        <p:cTn id="90" dur="1" fill="hold">
                                          <p:stCondLst>
                                            <p:cond delay="0"/>
                                          </p:stCondLst>
                                        </p:cTn>
                                        <p:tgtEl>
                                          <p:spTgt spid="38"/>
                                        </p:tgtEl>
                                        <p:attrNameLst>
                                          <p:attrName>style.visibility</p:attrName>
                                        </p:attrNameLst>
                                      </p:cBhvr>
                                      <p:to>
                                        <p:strVal val="visible"/>
                                      </p:to>
                                    </p:set>
                                    <p:anim calcmode="lin" valueType="num">
                                      <p:cBhvr>
                                        <p:cTn id="91" dur="500" fill="hold"/>
                                        <p:tgtEl>
                                          <p:spTgt spid="38"/>
                                        </p:tgtEl>
                                        <p:attrNameLst>
                                          <p:attrName>ppt_w</p:attrName>
                                        </p:attrNameLst>
                                      </p:cBhvr>
                                      <p:tavLst>
                                        <p:tav tm="0">
                                          <p:val>
                                            <p:fltVal val="0"/>
                                          </p:val>
                                        </p:tav>
                                        <p:tav tm="100000">
                                          <p:val>
                                            <p:strVal val="#ppt_w"/>
                                          </p:val>
                                        </p:tav>
                                      </p:tavLst>
                                    </p:anim>
                                    <p:anim calcmode="lin" valueType="num">
                                      <p:cBhvr>
                                        <p:cTn id="92" dur="500" fill="hold"/>
                                        <p:tgtEl>
                                          <p:spTgt spid="38"/>
                                        </p:tgtEl>
                                        <p:attrNameLst>
                                          <p:attrName>ppt_h</p:attrName>
                                        </p:attrNameLst>
                                      </p:cBhvr>
                                      <p:tavLst>
                                        <p:tav tm="0">
                                          <p:val>
                                            <p:fltVal val="0"/>
                                          </p:val>
                                        </p:tav>
                                        <p:tav tm="100000">
                                          <p:val>
                                            <p:strVal val="#ppt_h"/>
                                          </p:val>
                                        </p:tav>
                                      </p:tavLst>
                                    </p:anim>
                                    <p:animEffect transition="in" filter="fade">
                                      <p:cBhvr>
                                        <p:cTn id="93" dur="500"/>
                                        <p:tgtEl>
                                          <p:spTgt spid="38"/>
                                        </p:tgtEl>
                                      </p:cBhvr>
                                    </p:animEffect>
                                  </p:childTnLst>
                                </p:cTn>
                              </p:par>
                            </p:childTnLst>
                          </p:cTn>
                        </p:par>
                      </p:childTnLst>
                    </p:cTn>
                  </p:par>
                  <p:par>
                    <p:cTn id="94" fill="hold">
                      <p:stCondLst>
                        <p:cond delay="indefinite"/>
                      </p:stCondLst>
                      <p:childTnLst>
                        <p:par>
                          <p:cTn id="95" fill="hold">
                            <p:stCondLst>
                              <p:cond delay="0"/>
                            </p:stCondLst>
                            <p:childTnLst>
                              <p:par>
                                <p:cTn id="96" presetID="53" presetClass="entr" presetSubtype="0" fill="hold" nodeType="clickEffect">
                                  <p:stCondLst>
                                    <p:cond delay="0"/>
                                  </p:stCondLst>
                                  <p:childTnLst>
                                    <p:set>
                                      <p:cBhvr>
                                        <p:cTn id="97" dur="1" fill="hold">
                                          <p:stCondLst>
                                            <p:cond delay="0"/>
                                          </p:stCondLst>
                                        </p:cTn>
                                        <p:tgtEl>
                                          <p:spTgt spid="39"/>
                                        </p:tgtEl>
                                        <p:attrNameLst>
                                          <p:attrName>style.visibility</p:attrName>
                                        </p:attrNameLst>
                                      </p:cBhvr>
                                      <p:to>
                                        <p:strVal val="visible"/>
                                      </p:to>
                                    </p:set>
                                    <p:anim calcmode="lin" valueType="num">
                                      <p:cBhvr>
                                        <p:cTn id="98" dur="500" fill="hold"/>
                                        <p:tgtEl>
                                          <p:spTgt spid="39"/>
                                        </p:tgtEl>
                                        <p:attrNameLst>
                                          <p:attrName>ppt_w</p:attrName>
                                        </p:attrNameLst>
                                      </p:cBhvr>
                                      <p:tavLst>
                                        <p:tav tm="0">
                                          <p:val>
                                            <p:fltVal val="0"/>
                                          </p:val>
                                        </p:tav>
                                        <p:tav tm="100000">
                                          <p:val>
                                            <p:strVal val="#ppt_w"/>
                                          </p:val>
                                        </p:tav>
                                      </p:tavLst>
                                    </p:anim>
                                    <p:anim calcmode="lin" valueType="num">
                                      <p:cBhvr>
                                        <p:cTn id="99" dur="500" fill="hold"/>
                                        <p:tgtEl>
                                          <p:spTgt spid="39"/>
                                        </p:tgtEl>
                                        <p:attrNameLst>
                                          <p:attrName>ppt_h</p:attrName>
                                        </p:attrNameLst>
                                      </p:cBhvr>
                                      <p:tavLst>
                                        <p:tav tm="0">
                                          <p:val>
                                            <p:fltVal val="0"/>
                                          </p:val>
                                        </p:tav>
                                        <p:tav tm="100000">
                                          <p:val>
                                            <p:strVal val="#ppt_h"/>
                                          </p:val>
                                        </p:tav>
                                      </p:tavLst>
                                    </p:anim>
                                    <p:animEffect transition="in" filter="fade">
                                      <p:cBhvr>
                                        <p:cTn id="100" dur="500"/>
                                        <p:tgtEl>
                                          <p:spTgt spid="39"/>
                                        </p:tgtEl>
                                      </p:cBhvr>
                                    </p:animEffect>
                                  </p:childTnLst>
                                </p:cTn>
                              </p:par>
                            </p:childTnLst>
                          </p:cTn>
                        </p:par>
                      </p:childTnLst>
                    </p:cTn>
                  </p:par>
                  <p:par>
                    <p:cTn id="101" fill="hold">
                      <p:stCondLst>
                        <p:cond delay="indefinite"/>
                      </p:stCondLst>
                      <p:childTnLst>
                        <p:par>
                          <p:cTn id="102" fill="hold">
                            <p:stCondLst>
                              <p:cond delay="0"/>
                            </p:stCondLst>
                            <p:childTnLst>
                              <p:par>
                                <p:cTn id="103" presetID="53" presetClass="entr" presetSubtype="0" fill="hold" nodeType="clickEffect">
                                  <p:stCondLst>
                                    <p:cond delay="0"/>
                                  </p:stCondLst>
                                  <p:childTnLst>
                                    <p:set>
                                      <p:cBhvr>
                                        <p:cTn id="104" dur="1" fill="hold">
                                          <p:stCondLst>
                                            <p:cond delay="0"/>
                                          </p:stCondLst>
                                        </p:cTn>
                                        <p:tgtEl>
                                          <p:spTgt spid="41"/>
                                        </p:tgtEl>
                                        <p:attrNameLst>
                                          <p:attrName>style.visibility</p:attrName>
                                        </p:attrNameLst>
                                      </p:cBhvr>
                                      <p:to>
                                        <p:strVal val="visible"/>
                                      </p:to>
                                    </p:set>
                                    <p:anim calcmode="lin" valueType="num">
                                      <p:cBhvr>
                                        <p:cTn id="105" dur="500" fill="hold"/>
                                        <p:tgtEl>
                                          <p:spTgt spid="41"/>
                                        </p:tgtEl>
                                        <p:attrNameLst>
                                          <p:attrName>ppt_w</p:attrName>
                                        </p:attrNameLst>
                                      </p:cBhvr>
                                      <p:tavLst>
                                        <p:tav tm="0">
                                          <p:val>
                                            <p:fltVal val="0"/>
                                          </p:val>
                                        </p:tav>
                                        <p:tav tm="100000">
                                          <p:val>
                                            <p:strVal val="#ppt_w"/>
                                          </p:val>
                                        </p:tav>
                                      </p:tavLst>
                                    </p:anim>
                                    <p:anim calcmode="lin" valueType="num">
                                      <p:cBhvr>
                                        <p:cTn id="106" dur="500" fill="hold"/>
                                        <p:tgtEl>
                                          <p:spTgt spid="41"/>
                                        </p:tgtEl>
                                        <p:attrNameLst>
                                          <p:attrName>ppt_h</p:attrName>
                                        </p:attrNameLst>
                                      </p:cBhvr>
                                      <p:tavLst>
                                        <p:tav tm="0">
                                          <p:val>
                                            <p:fltVal val="0"/>
                                          </p:val>
                                        </p:tav>
                                        <p:tav tm="100000">
                                          <p:val>
                                            <p:strVal val="#ppt_h"/>
                                          </p:val>
                                        </p:tav>
                                      </p:tavLst>
                                    </p:anim>
                                    <p:animEffect transition="in" filter="fade">
                                      <p:cBhvr>
                                        <p:cTn id="107" dur="500"/>
                                        <p:tgtEl>
                                          <p:spTgt spid="41"/>
                                        </p:tgtEl>
                                      </p:cBhvr>
                                    </p:animEffect>
                                  </p:childTnLst>
                                </p:cTn>
                              </p:par>
                            </p:childTnLst>
                          </p:cTn>
                        </p:par>
                      </p:childTnLst>
                    </p:cTn>
                  </p:par>
                  <p:par>
                    <p:cTn id="108" fill="hold">
                      <p:stCondLst>
                        <p:cond delay="indefinite"/>
                      </p:stCondLst>
                      <p:childTnLst>
                        <p:par>
                          <p:cTn id="109" fill="hold">
                            <p:stCondLst>
                              <p:cond delay="0"/>
                            </p:stCondLst>
                            <p:childTnLst>
                              <p:par>
                                <p:cTn id="110" presetID="9" presetClass="entr" presetSubtype="0" fill="hold" nodeType="clickEffect">
                                  <p:stCondLst>
                                    <p:cond delay="0"/>
                                  </p:stCondLst>
                                  <p:childTnLst>
                                    <p:set>
                                      <p:cBhvr>
                                        <p:cTn id="111" dur="1" fill="hold">
                                          <p:stCondLst>
                                            <p:cond delay="0"/>
                                          </p:stCondLst>
                                        </p:cTn>
                                        <p:tgtEl>
                                          <p:spTgt spid="42"/>
                                        </p:tgtEl>
                                        <p:attrNameLst>
                                          <p:attrName>style.visibility</p:attrName>
                                        </p:attrNameLst>
                                      </p:cBhvr>
                                      <p:to>
                                        <p:strVal val="visible"/>
                                      </p:to>
                                    </p:set>
                                    <p:animEffect transition="in" filter="dissolve">
                                      <p:cBhvr>
                                        <p:cTn id="11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4" grpId="0" animBg="1"/>
      <p:bldP spid="1001" grpId="0" animBg="1"/>
      <p:bldP spid="1002" grpId="0" animBg="1"/>
      <p:bldP spid="1003" grpId="0" animBg="1"/>
      <p:bldP spid="1004" grpId="0" animBg="1"/>
      <p:bldP spid="1005" grpId="0" animBg="1"/>
      <p:bldP spid="1009" grpId="0" animBg="1"/>
      <p:bldP spid="1010" grpId="0" animBg="1"/>
      <p:bldP spid="1011" grpId="0" animBg="1"/>
      <p:bldP spid="1012" grpId="0" animBg="1"/>
      <p:bldP spid="101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1bG.IgYkEOiZX5z1afcS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Tzdi7nEMh0u121HioeY6_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Tzdi7nEMh0u121HioeY6_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YCRhAdmvECY_MTdWiKCo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eHC1PDxl0adJ4M7tXzC8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KYDH1Z2CUWNjW4oDtda1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tcCqvRH9UGBchhPJBdrL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bHyU_zwgUizLuJC9R33D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GWu4HABiU.Y4ksGcUIi5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KhaYLEas0mbjh1.wCeX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tlMJofBXkmw6eyeACMf6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90n6QVwA0e4JNokC0KLq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ROhzQ6AwEi1DFW_ExgTo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F2XLimCa0O_jWOrNxN2d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Uyp3.BMiUK2wAeQazEH6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ATVA3Fc20W0Kns.jvK4I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Cxi.L9fI0qcXGm3oeY_9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AIllsW5_EKi2OBFJUjC7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UCOhU6u80icnxfUKJv.R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XRvjrhAtkOtIXUXVq7Sj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PYho5xUGUut9uyXZsvO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VRtLjvD80CEs4r_DyTmG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h.LDAETcEm2KmUylC_81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xR7RbnesEyDIGPOAGF2.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XCdGPjrUi9jPonQeDb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uBYtGlItESYXy4SfEFnN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xEK0XZAorkCIqs3sZ404M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Mkt0NgC4pkefX1GHChK.y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Syz1Ei_86Eag3N_wieWQ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gAN6zAZelky0sBzZ0E73O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2IeKetGykEO7y0vZ7b2CQ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gimPSP7QQUG5M4zUtB6m0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5qj9DXaoDEiRtMXHDvuM8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f6Xx8Qu6Sk.GEbjbFuH0b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ZjyJxFn18E2gWYUxU0XCU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U.kL7c6rkWMq5Mdx7RZo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DHDXnWMHBkGFwG_GfdicS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wl0mHa62zkCtOyBh3oYtv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NH3OaBufkaOz2vx9Bf5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_X8AmESFfU2.2QKHZjm5S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7YVnPGjjj06uQQ1HVunqw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v8jAzwGR20.XdHXXSYWkJ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LHbt9S6nz0a0HFXI4TBEb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PFHfJ8miAke.Z4hySp_0L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a5zn3wbskiAk1Fwqlqe.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_WdylfwVwU.h_OLOVb4Np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pj99dj2xUSg4Do8XH.I9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jv4S1uZTUWyYv4F89s1S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8yFFrfU4ECTh..X7Ma3w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QziWsp6Vk2mq4KY0_RH0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8W5IOx_tUKi1gnHHDIv6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mfA1N.hQEal59K7dbvuZ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g434q1_x0eHdX_v7Omw2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ar4qgEm9k.KHkY_gwWuc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GGPVF3wqk6_9J5MxjTO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3287cS6yU6bkGM09czg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4_gmF1yRaUyGnYqUqWzcA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zDWnTyMS0mOpYjQG5._1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dx1BFDwaUOQIa3Mosztr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IyLHUCanE6d6yxI5bmu_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GFTeP0qx0KvBioMnzn34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a_FR_RNJkiRCVBi9EVK6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sigsyDhfUmekok4o7GvP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94nALvquUK_2yfkwzjT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J0AIkPyEavtga1kcFK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XS05xqQBEi_ymF3DHSBV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cRah3TTG06v_6UUzV44L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7m1OykkU6J8r6lDW8Ih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bzFgXSYMUeaUXq7JSFyD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MeoNwKq0CUnJcyYMxC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2KDkkiwnkeHn1mo6vRtA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CHjyTZYHkSPjLEj4vlRa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YhHNrsLB0KwCtkmK8UFy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21IBpcFikiUOlgfPz6q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zkrlHiAlkegZbuvc.Ra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bQOsCn6xEqZRrEYzaZV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WZS9h.BTUerqOanbslO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4aoH8rcQqUGvZK3tdBFc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7JMMJoPQUaBkBi5hIXG9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Y9fRctl35Ue9fRmP.kk8l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m67DspiCUe99.PrNWfbH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jXCX2r1bkqCeMpCSMgJI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iBNLjdeEkWDKwG54Rm3e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Uh4ru98UEOmNxsHw6o5q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B58Xil_LbUS5deIQE7o7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7sXDzjF_kSLT0OlK8Nt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u6keefxoZkm7WIKvS1lVL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_ebKZReDTE6foyu_Z736A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q24MQIhFU.ygqU6YQ5d9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A5kIwal1Emy.QCVMuX4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svgpDTYJkCVGMgfnKcU2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_cv9NUqoUGoGReLM4I76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BFNednLo0.tzhQlZQ6Rr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q0TdCkqRUCZWcszOuMeu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0diblwmeEOi4ZDK72ALs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Custom 61">
      <a:dk1>
        <a:srgbClr val="59452A"/>
      </a:dk1>
      <a:lt1>
        <a:srgbClr val="FFFFFF"/>
      </a:lt1>
      <a:dk2>
        <a:srgbClr val="59452A"/>
      </a:dk2>
      <a:lt2>
        <a:srgbClr val="B6975E"/>
      </a:lt2>
      <a:accent1>
        <a:srgbClr val="987C00"/>
      </a:accent1>
      <a:accent2>
        <a:srgbClr val="CE6B2A"/>
      </a:accent2>
      <a:accent3>
        <a:srgbClr val="FFFFFF"/>
      </a:accent3>
      <a:accent4>
        <a:srgbClr val="4B3A22"/>
      </a:accent4>
      <a:accent5>
        <a:srgbClr val="CABFAA"/>
      </a:accent5>
      <a:accent6>
        <a:srgbClr val="BA6025"/>
      </a:accent6>
      <a:hlink>
        <a:srgbClr val="8DB7C7"/>
      </a:hlink>
      <a:folHlink>
        <a:srgbClr val="E2EDF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2E2E2"/>
        </a:solidFill>
        <a:ln w="9525" cap="flat" cmpd="sng" algn="ctr">
          <a:solidFill>
            <a:srgbClr val="808080"/>
          </a:solidFill>
          <a:prstDash val="solid"/>
          <a:round/>
          <a:headEnd type="none" w="med" len="med"/>
          <a:tailEnd type="none" w="med" len="med"/>
        </a:ln>
        <a:effectLst/>
      </a:spPr>
      <a:bodyPr vert="horz" wrap="square" lIns="45720" tIns="45720" rIns="45720" bIns="45720" numCol="1" rtlCol="0" anchor="ctr" anchorCtr="0" compatLnSpc="1">
        <a:prstTxWarp prst="textNoShape">
          <a:avLst/>
        </a:prstTxWarp>
        <a:noAutofit/>
      </a:bodyPr>
      <a:lstStyle>
        <a:defPPr marL="0" marR="0" indent="0" algn="ctr" defTabSz="889000" rtl="0" eaLnBrk="1" fontAlgn="base" latinLnBrk="0" hangingPunct="1">
          <a:lnSpc>
            <a:spcPct val="100000"/>
          </a:lnSpc>
          <a:spcBef>
            <a:spcPts val="0"/>
          </a:spcBef>
          <a:spcAft>
            <a:spcPct val="0"/>
          </a:spcAft>
          <a:buClrTx/>
          <a:buSzTx/>
          <a:buFontTx/>
          <a:buNone/>
          <a:tabLst/>
          <a:defRPr sz="1000" dirty="0" err="1" smtClean="0">
            <a:latin typeface="Arial" pitchFamily="34" charset="0"/>
            <a:cs typeface="Arial" pitchFamily="34" charset="0"/>
          </a:defRPr>
        </a:defPPr>
      </a:lstStyle>
    </a:spDef>
    <a:lnDef>
      <a:spPr bwMode="auto">
        <a:noFill/>
        <a:ln w="9525" cap="flat" cmpd="sng" algn="ctr">
          <a:solidFill>
            <a:srgbClr val="B2B2B2"/>
          </a:solidFill>
          <a:prstDash val="solid"/>
          <a:round/>
          <a:headEnd type="none" w="med" len="med"/>
          <a:tailEnd type="none" w="med" len="med"/>
        </a:ln>
        <a:effectLst/>
      </a:spPr>
      <a:bodyPr/>
      <a:lstStyle/>
    </a:lnDef>
    <a:txDef>
      <a:spPr>
        <a:noFill/>
        <a:ln>
          <a:noFill/>
        </a:ln>
      </a:spPr>
      <a:bodyPr wrap="square" rtlCol="0">
        <a:noAutofit/>
      </a:bodyPr>
      <a:lstStyle>
        <a:defPPr algn="l">
          <a:spcBef>
            <a:spcPts val="0"/>
          </a:spcBef>
          <a:defRPr sz="1000" dirty="0" err="1" smtClean="0">
            <a:latin typeface="Arial" pitchFamily="34" charset="0"/>
            <a:cs typeface="Arial" pitchFamily="34" charset="0"/>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698</TotalTime>
  <Words>3332</Words>
  <Application>Microsoft Office PowerPoint</Application>
  <PresentationFormat>On-screen Show (4:3)</PresentationFormat>
  <Paragraphs>665</Paragraphs>
  <Slides>51</Slides>
  <Notes>8</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51</vt:i4>
      </vt:variant>
    </vt:vector>
  </HeadingPairs>
  <TitlesOfParts>
    <vt:vector size="56" baseType="lpstr">
      <vt:lpstr>Office Theme</vt:lpstr>
      <vt:lpstr>blank</vt:lpstr>
      <vt:lpstr>1_Office Theme</vt:lpstr>
      <vt:lpstr>think-cell Slide</vt:lpstr>
      <vt:lpstr>Document</vt:lpstr>
      <vt:lpstr>Orientation to Routine Immunization</vt:lpstr>
      <vt:lpstr>Recommended Routine Immunizations</vt:lpstr>
      <vt:lpstr>PowerPoint Presentation</vt:lpstr>
      <vt:lpstr>WHO-Recommended# Routine Immunizations &amp; Immunization Schedule  </vt:lpstr>
      <vt:lpstr>Routine Schedules Do Vary By Country</vt:lpstr>
      <vt:lpstr>What is the Routine Immunization System?</vt:lpstr>
      <vt:lpstr>PowerPoint Presentation</vt:lpstr>
      <vt:lpstr>What is the Routine Immunization System?</vt:lpstr>
      <vt:lpstr>What is the Routine Immunization System?</vt:lpstr>
      <vt:lpstr>HUMAN RESOURCES</vt:lpstr>
      <vt:lpstr>Human Resources</vt:lpstr>
      <vt:lpstr>Planning &amp; Management </vt:lpstr>
      <vt:lpstr>Immunization Plans</vt:lpstr>
      <vt:lpstr>Immunization Plans</vt:lpstr>
      <vt:lpstr>Comprehensive Multiyear Plan (cMYP)</vt:lpstr>
      <vt:lpstr>Comprehensive Multiyear Plan (cMYP)</vt:lpstr>
      <vt:lpstr>Annual EPI Plan</vt:lpstr>
      <vt:lpstr>Microplans</vt:lpstr>
      <vt:lpstr>Microplans</vt:lpstr>
      <vt:lpstr>PowerPoint Presentation</vt:lpstr>
      <vt:lpstr>Example Workplan (India)</vt:lpstr>
      <vt:lpstr>PowerPoint Presentation</vt:lpstr>
      <vt:lpstr>Example: Catchment map from Liberia</vt:lpstr>
      <vt:lpstr>Target population</vt:lpstr>
      <vt:lpstr>Supervision</vt:lpstr>
      <vt:lpstr>Supervision checklist often used to guide the supervision visit</vt:lpstr>
      <vt:lpstr>Supervision checklist often used to guide the supervision visit</vt:lpstr>
      <vt:lpstr>Supervision</vt:lpstr>
      <vt:lpstr>Vaccine Supply &amp; Quality</vt:lpstr>
      <vt:lpstr>Routine Vaccine Forecasting</vt:lpstr>
      <vt:lpstr>Reasons for Wastage</vt:lpstr>
      <vt:lpstr>Example: vaccine forecast in Liberia</vt:lpstr>
      <vt:lpstr>Managing vaccine supply</vt:lpstr>
      <vt:lpstr>Example: stock management register from Nigeria</vt:lpstr>
      <vt:lpstr>SERVICE DELIVERY: ConducTING IMMUNIZATION SESSIONS</vt:lpstr>
      <vt:lpstr>Fixed Immunization Sessions</vt:lpstr>
      <vt:lpstr>Session days-E Java, Indonesia</vt:lpstr>
      <vt:lpstr>PowerPoint Presentation</vt:lpstr>
      <vt:lpstr>COMMUNICATIONS: CREATING COMMUNITY DEMAND FOR RI</vt:lpstr>
      <vt:lpstr>RI Communications Strategy</vt:lpstr>
      <vt:lpstr>PowerPoint Presentation</vt:lpstr>
      <vt:lpstr>Key Communications Messages</vt:lpstr>
      <vt:lpstr>Strategies For Strengthening the Routine Immunization System</vt:lpstr>
      <vt:lpstr>Common Barriers to High RI Coverage</vt:lpstr>
      <vt:lpstr>Reach Every District (RED) Strategy</vt:lpstr>
      <vt:lpstr>RED Strategy Components</vt:lpstr>
      <vt:lpstr>RED Strategy Components</vt:lpstr>
      <vt:lpstr>Reaching Every District (RED) strategy designed to address common RI barriers</vt:lpstr>
      <vt:lpstr>How is RED operationalized?</vt:lpstr>
      <vt:lpstr>PowerPoint Presentation</vt:lpstr>
      <vt:lpstr>Routine Immunization vs  Supplementary Immunization Activities</vt:lpstr>
    </vt:vector>
  </TitlesOfParts>
  <Company>Centers for Disease Control and Preven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ientation to EPI Reviews</dc:title>
  <dc:creator>Wallace, Aaron S. (CDC/CGH/GID)</dc:creator>
  <cp:lastModifiedBy>zty6</cp:lastModifiedBy>
  <cp:revision>162</cp:revision>
  <cp:lastPrinted>2013-06-11T19:39:34Z</cp:lastPrinted>
  <dcterms:created xsi:type="dcterms:W3CDTF">2012-03-01T15:59:37Z</dcterms:created>
  <dcterms:modified xsi:type="dcterms:W3CDTF">2014-03-25T13:55:47Z</dcterms:modified>
</cp:coreProperties>
</file>